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5"/>
    <p:sldMasterId id="2147483667" r:id="rId6"/>
    <p:sldMasterId id="2147483745" r:id="rId7"/>
    <p:sldMasterId id="2147483820" r:id="rId8"/>
  </p:sldMasterIdLst>
  <p:notesMasterIdLst>
    <p:notesMasterId r:id="rId17"/>
  </p:notesMasterIdLst>
  <p:sldIdLst>
    <p:sldId id="261" r:id="rId9"/>
    <p:sldId id="2145708644" r:id="rId10"/>
    <p:sldId id="2145708620" r:id="rId11"/>
    <p:sldId id="2109" r:id="rId12"/>
    <p:sldId id="2145708641" r:id="rId13"/>
    <p:sldId id="2145708642" r:id="rId14"/>
    <p:sldId id="2145708643" r:id="rId15"/>
    <p:sldId id="2145708629" r:id="rId16"/>
  </p:sldIdLst>
  <p:sldSz cx="35740975" cy="20104100"/>
  <p:notesSz cx="20104100" cy="20104100"/>
  <p:custDataLst>
    <p:tags r:id="rId18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4E0F"/>
    <a:srgbClr val="461E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11" autoAdjust="0"/>
    <p:restoredTop sz="93503" autoAdjust="0"/>
  </p:normalViewPr>
  <p:slideViewPr>
    <p:cSldViewPr>
      <p:cViewPr varScale="1">
        <p:scale>
          <a:sx n="19" d="100"/>
          <a:sy n="19" d="100"/>
        </p:scale>
        <p:origin x="4" y="200"/>
      </p:cViewPr>
      <p:guideLst>
        <p:guide orient="horz" pos="2880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s72087647N\Downloads\OMIP_BL_(2022-7-11)%20(1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2!$B$1</c:f>
              <c:strCache>
                <c:ptCount val="1"/>
                <c:pt idx="0">
                  <c:v>Electricidad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DnDiag">
                <a:fgClr>
                  <a:schemeClr val="accent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B6-4480-977E-DE54CB37B475}"/>
              </c:ext>
            </c:extLst>
          </c:dPt>
          <c:dPt>
            <c:idx val="1"/>
            <c:invertIfNegative val="0"/>
            <c:bubble3D val="0"/>
            <c:spPr>
              <a:pattFill prst="wdDnDiag">
                <a:fgClr>
                  <a:schemeClr val="accent2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B6-4480-977E-DE54CB37B475}"/>
              </c:ext>
            </c:extLst>
          </c:dPt>
          <c:dLbls>
            <c:spPr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a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A$2:$A$9</c:f>
              <c:strCache>
                <c:ptCount val="8"/>
                <c:pt idx="0">
                  <c:v>2009-2020</c:v>
                </c:pt>
                <c:pt idx="1">
                  <c:v> YR 2021</c:v>
                </c:pt>
                <c:pt idx="2">
                  <c:v> YR 2022</c:v>
                </c:pt>
                <c:pt idx="3">
                  <c:v> YR 2023</c:v>
                </c:pt>
                <c:pt idx="4">
                  <c:v> YR 2024</c:v>
                </c:pt>
                <c:pt idx="5">
                  <c:v> YR 2025</c:v>
                </c:pt>
                <c:pt idx="6">
                  <c:v> YR 2026</c:v>
                </c:pt>
                <c:pt idx="7">
                  <c:v> YR 2027</c:v>
                </c:pt>
              </c:strCache>
            </c:strRef>
          </c:cat>
          <c:val>
            <c:numRef>
              <c:f>Hoja2!$B$2:$B$9</c:f>
              <c:numCache>
                <c:formatCode>0.00</c:formatCode>
                <c:ptCount val="8"/>
                <c:pt idx="0">
                  <c:v>44.855505808535497</c:v>
                </c:pt>
                <c:pt idx="1">
                  <c:v>111.92834005376343</c:v>
                </c:pt>
                <c:pt idx="2">
                  <c:v>182.54</c:v>
                </c:pt>
                <c:pt idx="3">
                  <c:v>198.13</c:v>
                </c:pt>
                <c:pt idx="4">
                  <c:v>105.5</c:v>
                </c:pt>
                <c:pt idx="5">
                  <c:v>80</c:v>
                </c:pt>
                <c:pt idx="6">
                  <c:v>66.75</c:v>
                </c:pt>
                <c:pt idx="7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1B6-4480-977E-DE54CB37B475}"/>
            </c:ext>
          </c:extLst>
        </c:ser>
        <c:ser>
          <c:idx val="1"/>
          <c:order val="1"/>
          <c:tx>
            <c:strRef>
              <c:f>Hoja2!$C$1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DnDiag">
                <a:fgClr>
                  <a:schemeClr val="accent1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1B6-4480-977E-DE54CB37B475}"/>
              </c:ext>
            </c:extLst>
          </c:dPt>
          <c:dPt>
            <c:idx val="1"/>
            <c:invertIfNegative val="0"/>
            <c:bubble3D val="0"/>
            <c:spPr>
              <a:pattFill prst="wdDnDiag">
                <a:fgClr>
                  <a:schemeClr val="accent1"/>
                </a:fgClr>
                <a:bgClr>
                  <a:schemeClr val="bg1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E1B6-4480-977E-DE54CB37B475}"/>
              </c:ext>
            </c:extLst>
          </c:dPt>
          <c:dLbls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a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A$2:$A$9</c:f>
              <c:strCache>
                <c:ptCount val="8"/>
                <c:pt idx="0">
                  <c:v>2009-2020</c:v>
                </c:pt>
                <c:pt idx="1">
                  <c:v> YR 2021</c:v>
                </c:pt>
                <c:pt idx="2">
                  <c:v> YR 2022</c:v>
                </c:pt>
                <c:pt idx="3">
                  <c:v> YR 2023</c:v>
                </c:pt>
                <c:pt idx="4">
                  <c:v> YR 2024</c:v>
                </c:pt>
                <c:pt idx="5">
                  <c:v> YR 2025</c:v>
                </c:pt>
                <c:pt idx="6">
                  <c:v> YR 2026</c:v>
                </c:pt>
                <c:pt idx="7">
                  <c:v> YR 2027</c:v>
                </c:pt>
              </c:strCache>
            </c:strRef>
          </c:cat>
          <c:val>
            <c:numRef>
              <c:f>Hoja2!$C$2:$C$9</c:f>
              <c:numCache>
                <c:formatCode>0.0</c:formatCode>
                <c:ptCount val="8"/>
                <c:pt idx="0">
                  <c:v>10.9</c:v>
                </c:pt>
                <c:pt idx="1">
                  <c:v>47.65</c:v>
                </c:pt>
                <c:pt idx="2">
                  <c:v>128.6</c:v>
                </c:pt>
                <c:pt idx="3">
                  <c:v>182.66</c:v>
                </c:pt>
                <c:pt idx="4">
                  <c:v>119.5</c:v>
                </c:pt>
                <c:pt idx="5">
                  <c:v>84.47</c:v>
                </c:pt>
                <c:pt idx="6">
                  <c:v>57.95</c:v>
                </c:pt>
                <c:pt idx="7">
                  <c:v>47.639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E1B6-4480-977E-DE54CB37B4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08220624"/>
        <c:axId val="608218544"/>
      </c:barChart>
      <c:catAx>
        <c:axId val="608220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a-ES"/>
          </a:p>
        </c:txPr>
        <c:crossAx val="608218544"/>
        <c:crosses val="autoZero"/>
        <c:auto val="1"/>
        <c:lblAlgn val="ctr"/>
        <c:lblOffset val="100"/>
        <c:noMultiLvlLbl val="0"/>
      </c:catAx>
      <c:valAx>
        <c:axId val="608218544"/>
        <c:scaling>
          <c:orientation val="minMax"/>
        </c:scaling>
        <c:delete val="1"/>
        <c:axPos val="l"/>
        <c:numFmt formatCode="0.00" sourceLinked="1"/>
        <c:majorTickMark val="none"/>
        <c:minorTickMark val="none"/>
        <c:tickLblPos val="nextTo"/>
        <c:crossAx val="608220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a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a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1008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1008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3C6F3B-9D33-4683-9A7A-41E9B5E0ABF8}" type="datetimeFigureOut">
              <a:rPr lang="es-ES" smtClean="0"/>
              <a:t>16/06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21138" y="2513013"/>
            <a:ext cx="12061825" cy="6784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2009775" y="9675813"/>
            <a:ext cx="16084550" cy="79152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9096038"/>
            <a:ext cx="8712200" cy="1008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11387138" y="19096038"/>
            <a:ext cx="8712200" cy="1008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C7D3E4-4635-42B7-A290-797CA202D316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43948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C7D3E4-4635-42B7-A290-797CA202D316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36139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s-E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ABA30D-213D-4022-B16B-61588CC79978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7104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3348C4-1C66-4C9B-9DAB-884E468E07A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6436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3348C4-1C66-4C9B-9DAB-884E468E07A0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9476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021138" y="2513013"/>
            <a:ext cx="12061825" cy="6784975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C7D3E4-4635-42B7-A290-797CA202D316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30176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13.png"/><Relationship Id="rId4" Type="http://schemas.openxmlformats.org/officeDocument/2006/relationships/image" Target="../media/image14.emf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680574" y="6232271"/>
            <a:ext cx="30379831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5361148" y="11258299"/>
            <a:ext cx="2501868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X Violet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93715" y="8004816"/>
            <a:ext cx="21604434" cy="1340276"/>
          </a:xfrm>
        </p:spPr>
        <p:txBody>
          <a:bodyPr anchor="t"/>
          <a:lstStyle>
            <a:lvl1pPr algn="r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93715" y="9651661"/>
            <a:ext cx="21604434" cy="1340276"/>
          </a:xfrm>
        </p:spPr>
        <p:txBody>
          <a:bodyPr/>
          <a:lstStyle>
            <a:lvl1pPr marL="0" indent="0" algn="r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62B90481-F1C6-FB46-9B5A-2226355EA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35"/>
            <a:ext cx="14830561" cy="17711140"/>
          </a:xfrm>
          <a:prstGeom prst="rect">
            <a:avLst/>
          </a:prstGeom>
        </p:spPr>
      </p:pic>
      <p:sp>
        <p:nvSpPr>
          <p:cNvPr id="8" name="Segnaposto testo 9">
            <a:extLst>
              <a:ext uri="{FF2B5EF4-FFF2-40B4-BE49-F238E27FC236}">
                <a16:creationId xmlns:a16="http://schemas.microsoft.com/office/drawing/2014/main" id="{25A8B920-4140-3E4A-817C-036C6841B1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902310" y="18098342"/>
            <a:ext cx="10783321" cy="1070360"/>
          </a:xfrm>
        </p:spPr>
        <p:txBody>
          <a:bodyPr anchor="b"/>
          <a:lstStyle>
            <a:lvl1pPr marL="0" indent="0" algn="r">
              <a:buNone/>
              <a:defRPr sz="3518"/>
            </a:lvl1pPr>
            <a:lvl2pPr marL="0" indent="0" algn="r">
              <a:buNone/>
              <a:defRPr sz="3518"/>
            </a:lvl2pPr>
            <a:lvl3pPr marL="0" indent="0" algn="r">
              <a:buNone/>
              <a:defRPr sz="3518"/>
            </a:lvl3pPr>
            <a:lvl4pPr marL="0" indent="0" algn="r">
              <a:buNone/>
              <a:defRPr sz="3518"/>
            </a:lvl4pPr>
            <a:lvl5pPr marL="0" indent="0" algn="r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058D37B-189F-E640-882B-FDE4F61622B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61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1 Content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769953" y="0"/>
            <a:ext cx="22971022" cy="20104100"/>
          </a:xfrm>
        </p:spPr>
        <p:txBody>
          <a:bodyPr tIns="14796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44" y="780947"/>
            <a:ext cx="10658972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08" y="4337428"/>
            <a:ext cx="1065897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20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7870488" y="0"/>
            <a:ext cx="9075956" cy="10105614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6" name="Segnaposto contenuto 3">
            <a:extLst>
              <a:ext uri="{FF2B5EF4-FFF2-40B4-BE49-F238E27FC236}">
                <a16:creationId xmlns:a16="http://schemas.microsoft.com/office/drawing/2014/main" id="{7D6CC853-255B-824E-A7A2-2EF8208D39C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6867958" y="0"/>
            <a:ext cx="8972474" cy="10105614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3" name="Segnaposto contenuto 3">
            <a:extLst>
              <a:ext uri="{FF2B5EF4-FFF2-40B4-BE49-F238E27FC236}">
                <a16:creationId xmlns:a16="http://schemas.microsoft.com/office/drawing/2014/main" id="{56539D69-1730-D946-842C-4E88BAA0E7E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7870488" y="10052053"/>
            <a:ext cx="9075956" cy="10052050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8" name="Segnaposto contenuto 3">
            <a:extLst>
              <a:ext uri="{FF2B5EF4-FFF2-40B4-BE49-F238E27FC236}">
                <a16:creationId xmlns:a16="http://schemas.microsoft.com/office/drawing/2014/main" id="{0E70E214-3747-E44E-B8F1-2C27A6C7C37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6867958" y="10052053"/>
            <a:ext cx="8972474" cy="10052050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3" y="780947"/>
            <a:ext cx="15756282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4" y="4337428"/>
            <a:ext cx="1575628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2B22290-4779-AF4A-BCEC-3C6B9E585E9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398159" y="8326587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4" name="Segnaposto testo 4">
            <a:extLst>
              <a:ext uri="{FF2B5EF4-FFF2-40B4-BE49-F238E27FC236}">
                <a16:creationId xmlns:a16="http://schemas.microsoft.com/office/drawing/2014/main" id="{FE9B906D-E240-E441-A0B1-884C6BB6F2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398159" y="18352254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46FD622B-D899-964C-9302-302BFD4286F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395630" y="8326587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9" name="Segnaposto testo 4">
            <a:extLst>
              <a:ext uri="{FF2B5EF4-FFF2-40B4-BE49-F238E27FC236}">
                <a16:creationId xmlns:a16="http://schemas.microsoft.com/office/drawing/2014/main" id="{6F0B5972-26DD-2349-A623-C5B1354848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395630" y="18352254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941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769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4 Contents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contenuto 3">
            <a:extLst>
              <a:ext uri="{FF2B5EF4-FFF2-40B4-BE49-F238E27FC236}">
                <a16:creationId xmlns:a16="http://schemas.microsoft.com/office/drawing/2014/main" id="{D11AE063-B3BB-804D-ADD7-45E615F3972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4306658" y="0"/>
            <a:ext cx="11536704" cy="10052050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4" name="Segnaposto contenuto 3">
            <a:extLst>
              <a:ext uri="{FF2B5EF4-FFF2-40B4-BE49-F238E27FC236}">
                <a16:creationId xmlns:a16="http://schemas.microsoft.com/office/drawing/2014/main" id="{2A7172DD-51AB-924A-86CD-B6E3CCC6F9C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4306658" y="10068043"/>
            <a:ext cx="11536704" cy="10036065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BB4845B8-F292-C142-A0D0-FC639C25D2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4834330" y="857986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26E32F49-6C70-2549-8747-C0838E2878D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834330" y="1861608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769954" y="0"/>
            <a:ext cx="11536704" cy="10052050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44" y="780951"/>
            <a:ext cx="10658972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08" y="4337428"/>
            <a:ext cx="1065897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contenuto 3">
            <a:extLst>
              <a:ext uri="{FF2B5EF4-FFF2-40B4-BE49-F238E27FC236}">
                <a16:creationId xmlns:a16="http://schemas.microsoft.com/office/drawing/2014/main" id="{39ABB231-567E-2344-9D2F-0AA9B12FE2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2769954" y="10068043"/>
            <a:ext cx="11536704" cy="10036065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27AD12E-F3B9-164C-870D-F4F7A087D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297626" y="857986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04A3727F-72F0-5542-87BE-9D8ED69550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7626" y="1861608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648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23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0"/>
            <a:ext cx="35740975" cy="20104100"/>
          </a:xfrm>
        </p:spPr>
        <p:txBody>
          <a:bodyPr lIns="360000" tIns="324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637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3">
            <a:extLst>
              <a:ext uri="{FF2B5EF4-FFF2-40B4-BE49-F238E27FC236}">
                <a16:creationId xmlns:a16="http://schemas.microsoft.com/office/drawing/2014/main" id="{960D9F89-9DD5-A246-A34F-A9FD915F62C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7870493" y="0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contenuto 3">
            <a:extLst>
              <a:ext uri="{FF2B5EF4-FFF2-40B4-BE49-F238E27FC236}">
                <a16:creationId xmlns:a16="http://schemas.microsoft.com/office/drawing/2014/main" id="{321D2053-7BAA-DA4A-9A98-210EABB3E3E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7870493" y="10052053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0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145717" y="18098350"/>
            <a:ext cx="3539925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5" name="Segnaposto contenuto 3">
            <a:extLst>
              <a:ext uri="{FF2B5EF4-FFF2-40B4-BE49-F238E27FC236}">
                <a16:creationId xmlns:a16="http://schemas.microsoft.com/office/drawing/2014/main" id="{6810EAA0-20CA-614A-B2A7-CE8383C818D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0" y="10052053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9EB9147B-B6D0-4841-9C8E-89776E395DF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922315" y="18356566"/>
            <a:ext cx="12751065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BA1DF99-0066-4F4F-B382-9B8EC0128A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55344" y="18356566"/>
            <a:ext cx="16582792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4E821A1D-EC21-4B4E-AE49-4B6FC531BEA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922315" y="8189394"/>
            <a:ext cx="12751065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0D98FF92-C4E8-DB46-963C-599DA9544D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55344" y="8189394"/>
            <a:ext cx="16582792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790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 Divider Viole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62B90481-F1C6-FB46-9B5A-2226355EA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35"/>
            <a:ext cx="14830561" cy="1771114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46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hapter 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F84BE1EC-8B44-AA4B-AF0B-3784D1856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28"/>
            <a:ext cx="14830561" cy="17711143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170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igura a mano libera 12">
            <a:extLst>
              <a:ext uri="{FF2B5EF4-FFF2-40B4-BE49-F238E27FC236}">
                <a16:creationId xmlns:a16="http://schemas.microsoft.com/office/drawing/2014/main" id="{DE6E89FD-6BDA-D040-85EC-38021D1A0DB7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2090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0" name="Figura a mano libera 9">
            <a:extLst>
              <a:ext uri="{FF2B5EF4-FFF2-40B4-BE49-F238E27FC236}">
                <a16:creationId xmlns:a16="http://schemas.microsoft.com/office/drawing/2014/main" id="{CA80805F-02A4-EA41-AF4C-FC00BA725C8B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" y="17676694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83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5B910A40-25D2-8E4C-8726-EA225ADDD2A1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039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X Violet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93715" y="8004816"/>
            <a:ext cx="21604434" cy="1340276"/>
          </a:xfrm>
        </p:spPr>
        <p:txBody>
          <a:bodyPr anchor="t"/>
          <a:lstStyle>
            <a:lvl1pPr algn="r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93715" y="9656307"/>
            <a:ext cx="21604434" cy="1340276"/>
          </a:xfrm>
        </p:spPr>
        <p:txBody>
          <a:bodyPr/>
          <a:lstStyle>
            <a:lvl1pPr marL="0" indent="0" algn="r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62B90481-F1C6-FB46-9B5A-2226355EA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35"/>
            <a:ext cx="14830561" cy="1771114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23E43F9E-E8B6-4947-BF37-7F278106D0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02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" y="1055341"/>
            <a:ext cx="8129914" cy="1340276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55FDC597-4E71-D64E-8E1F-5BA25C7FA53B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724887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5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83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DB9AF39E-0CAD-0743-B462-8AF961363549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66547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561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9B7D9855-EC86-9041-821F-CB8FB9D725AC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89160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339FB361-A6EF-284C-83CB-3F60474D9748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007590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387BE54C-DFFE-834E-937F-2B5F2EAFF1F4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" y="17676694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736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3FA38DF7-0106-1747-9747-F601008B4C8F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" y="17676694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02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" y="1055341"/>
            <a:ext cx="8129914" cy="1340276"/>
          </a:xfrm>
          <a:prstGeom prst="rect">
            <a:avLst/>
          </a:prstGeom>
        </p:spPr>
      </p:pic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592A2241-5DEB-D64F-B969-30EAF3D96A54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565587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5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55728" y="1055341"/>
            <a:ext cx="8129914" cy="1340276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668095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55728" y="1055341"/>
            <a:ext cx="8129914" cy="1340276"/>
          </a:xfrm>
          <a:prstGeom prst="rect">
            <a:avLst/>
          </a:prstGeom>
        </p:spPr>
      </p:pic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C2AC571F-2089-7045-8F08-F89D0F7CC133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15581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X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93715" y="8004816"/>
            <a:ext cx="21604434" cy="1340276"/>
          </a:xfrm>
        </p:spPr>
        <p:txBody>
          <a:bodyPr anchor="t"/>
          <a:lstStyle>
            <a:lvl1pPr algn="r">
              <a:defRPr sz="8797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93715" y="9656307"/>
            <a:ext cx="21604434" cy="1340276"/>
          </a:xfrm>
        </p:spPr>
        <p:txBody>
          <a:bodyPr/>
          <a:lstStyle>
            <a:lvl1pPr marL="0" indent="0" algn="r">
              <a:buNone/>
              <a:defRPr sz="7625">
                <a:solidFill>
                  <a:schemeClr val="tx2"/>
                </a:solidFill>
              </a:defRPr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F84BE1EC-8B44-AA4B-AF0B-3784D1856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28"/>
            <a:ext cx="14830561" cy="17711143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AEAB698-2762-F447-A9E5-3585A6B2762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4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3B898C8A-ED7E-A14B-BBA1-565D3B4E8F1E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8389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2C308451-A357-8846-8F59-0E8776C2B027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5743566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958747BC-E639-0F48-8D2F-D64D685002E4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466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F451FA6A-3512-7B44-A33A-21D42FA4421C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711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96DB40AA-3307-4440-A01D-FCB34E9F248D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3752372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5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magine" descr="Immagine">
            <a:extLst>
              <a:ext uri="{FF2B5EF4-FFF2-40B4-BE49-F238E27FC236}">
                <a16:creationId xmlns:a16="http://schemas.microsoft.com/office/drawing/2014/main" id="{A691A1F1-02F9-4147-A3DD-339B98A942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30841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0F0D5F2C-EC32-524A-93D2-571FDA1FB96B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0135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268447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AD89FA91-1C07-4D43-8617-A88E3D1932FE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0135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11581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15A447FE-F3A4-E243-8807-F4070C16B39F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511819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CD27EF5E-D575-414F-BB08-84182102F884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61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1340276"/>
          </a:xfrm>
        </p:spPr>
        <p:txBody>
          <a:bodyPr anchor="t"/>
          <a:lstStyle>
            <a:lvl1pPr algn="l">
              <a:defRPr sz="8797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344" y="2432431"/>
            <a:ext cx="27227869" cy="1340276"/>
          </a:xfrm>
        </p:spPr>
        <p:txBody>
          <a:bodyPr/>
          <a:lstStyle>
            <a:lvl1pPr marL="0" indent="0" algn="l">
              <a:buNone/>
              <a:defRPr sz="7625">
                <a:solidFill>
                  <a:schemeClr val="tx2"/>
                </a:solidFill>
              </a:defRPr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BEE2049-09B6-4FF6-A0DC-BBDE87ADA96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92157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5" y="18098342"/>
            <a:ext cx="19434158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A1BEC45-DAA3-A349-BFE8-B41B1D5D73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0932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F124B127-5F38-214D-AB50-2196E8B9FDC1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284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D1845E5A-54EF-274D-9449-75C32D29FAD1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761267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5 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394DA496-AAE0-1645-A682-81FCAAB113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64085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93D90E74-6B79-A64C-A59C-D7184C5C727D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4687236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627C4277-5EBF-314A-86CB-AD4DA0DB2A69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53968530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1D71A102-18BB-3843-8B11-7C86E77D3BDD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391183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0AE5AE29-8A9A-8540-907F-1254A48F489D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454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1B0C69F9-E6D2-294B-99A9-642F9145E7BC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4825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45510A5A-466D-994E-BA9C-DE59D1AF9416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406275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5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4A5CDF0D-1356-154B-98AB-0A9226AC87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36227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60220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3" name="Segnaposto testo 11">
            <a:extLst>
              <a:ext uri="{FF2B5EF4-FFF2-40B4-BE49-F238E27FC236}">
                <a16:creationId xmlns:a16="http://schemas.microsoft.com/office/drawing/2014/main" id="{8D8B091B-0B26-2147-91E5-3A9673EA1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6412" y="4337427"/>
            <a:ext cx="33628162" cy="13877009"/>
          </a:xfrm>
        </p:spPr>
        <p:txBody>
          <a:bodyPr numCol="3" spcCol="72000"/>
          <a:lstStyle>
            <a:lvl1pPr marL="1005238" indent="-1005238">
              <a:buFont typeface="+mj-lt"/>
              <a:buAutoNum type="arabicPeriod"/>
              <a:defRPr sz="7036"/>
            </a:lvl1pPr>
            <a:lvl2pPr marL="1573008" indent="-539850"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C56C631A-6470-4748-850D-49D651502C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2357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9257561B-07E5-7846-8D8C-A8166D2AA870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52727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B87752E2-60F1-054F-8490-E86DA6A30CD4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79376674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312FE73B-61E2-214C-B621-16A09B11CA31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014382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FD21D3FB-CCE5-0747-B419-69821A45FB0F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4851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82477C38-6707-6F4D-9CA3-7A1022D58B55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777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22BB46C1-EDD1-3F42-80E8-FB025B88DA64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8010102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5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394DA496-AAE0-1645-A682-81FCAAB113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25842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7A0847B1-72A7-FE48-A47B-F90AA2421AC7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165084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8802B257-1A2E-5943-83C4-B7D8F0347C62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76617352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ure 0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266547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pic>
        <p:nvPicPr>
          <p:cNvPr id="6" name="Immagine" descr="Immagine">
            <a:extLst>
              <a:ext uri="{FF2B5EF4-FFF2-40B4-BE49-F238E27FC236}">
                <a16:creationId xmlns:a16="http://schemas.microsoft.com/office/drawing/2014/main" id="{2344F41D-F56B-A64F-878D-DBE83B76E8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96839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Viole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134027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EA96CFB-DFE1-1741-A721-B893708030B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480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ure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344" y="1055334"/>
            <a:ext cx="33642805" cy="17993433"/>
          </a:xfrm>
        </p:spPr>
        <p:txBody>
          <a:bodyPr anchor="ctr"/>
          <a:lstStyle>
            <a:lvl1pPr>
              <a:defRPr sz="49838"/>
            </a:lvl1pPr>
          </a:lstStyle>
          <a:p>
            <a:r>
              <a:rPr lang="it-IT" err="1"/>
              <a:t>Thank</a:t>
            </a:r>
            <a:r>
              <a:rPr lang="it-IT"/>
              <a:t> </a:t>
            </a:r>
            <a:r>
              <a:rPr lang="it-IT" err="1"/>
              <a:t>you</a:t>
            </a:r>
            <a:r>
              <a:rPr lang="it-IT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904237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ure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350" y="-651728"/>
            <a:ext cx="27174439" cy="18755580"/>
          </a:xfrm>
        </p:spPr>
        <p:txBody>
          <a:bodyPr anchor="t"/>
          <a:lstStyle>
            <a:lvl1pPr>
              <a:defRPr sz="52767"/>
            </a:lvl1pPr>
          </a:lstStyle>
          <a:p>
            <a:r>
              <a:rPr lang="it-IT" err="1"/>
              <a:t>Thank</a:t>
            </a:r>
            <a:r>
              <a:rPr lang="it-IT"/>
              <a:t> </a:t>
            </a:r>
            <a:r>
              <a:rPr lang="it-IT" err="1"/>
              <a:t>you</a:t>
            </a:r>
            <a:r>
              <a:rPr lang="it-IT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52774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sldNum" sz="quarter" idx="2"/>
          </p:nvPr>
        </p:nvSpPr>
        <p:spPr>
          <a:xfrm>
            <a:off x="24658246" y="18250073"/>
            <a:ext cx="956127" cy="766899"/>
          </a:xfrm>
          <a:prstGeom prst="rect">
            <a:avLst/>
          </a:prstGeom>
        </p:spPr>
        <p:txBody>
          <a:bodyPr lIns="45719" tIns="45719" rIns="45719" bIns="45719"/>
          <a:lstStyle>
            <a:lvl1pPr defTabSz="1284440">
              <a:defRPr sz="2638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19161698"/>
      </p:ext>
    </p:extLst>
  </p:cSld>
  <p:clrMapOvr>
    <a:masterClrMapping/>
  </p:clrMapOvr>
  <p:transition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7036" b="0" i="0">
                <a:solidFill>
                  <a:srgbClr val="1A3A46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3081" b="0" i="0">
                <a:solidFill>
                  <a:schemeClr val="bg1"/>
                </a:solidFill>
                <a:latin typeface="Lucida Sans Unicode"/>
                <a:cs typeface="Lucida Sans Unicode"/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5883143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33811" y="3181738"/>
            <a:ext cx="24553311" cy="812017"/>
          </a:xfrm>
        </p:spPr>
        <p:txBody>
          <a:bodyPr rIns="0">
            <a:noAutofit/>
          </a:bodyPr>
          <a:lstStyle>
            <a:lvl1pPr>
              <a:defRPr sz="528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9" name="Marcador de número de diapositiva 5"/>
          <p:cNvSpPr txBox="1">
            <a:spLocks/>
          </p:cNvSpPr>
          <p:nvPr/>
        </p:nvSpPr>
        <p:spPr>
          <a:xfrm>
            <a:off x="33319160" y="19534900"/>
            <a:ext cx="2233811" cy="45112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z="2934" smtClean="0">
                <a:solidFill>
                  <a:schemeClr val="tx1"/>
                </a:solidFill>
              </a:rPr>
              <a:pPr/>
              <a:t>‹Nº›</a:t>
            </a:fld>
            <a:endParaRPr lang="en-GB" sz="2934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94478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id="{9371ADCD-BA40-6442-9051-3993F4B09766}"/>
              </a:ext>
            </a:extLst>
          </p:cNvPr>
          <p:cNvSpPr/>
          <p:nvPr/>
        </p:nvSpPr>
        <p:spPr>
          <a:xfrm>
            <a:off x="4" y="0"/>
            <a:ext cx="26056886" cy="20104100"/>
          </a:xfrm>
          <a:custGeom>
            <a:avLst/>
            <a:gdLst>
              <a:gd name="connsiteX0" fmla="*/ 0 w 5364088"/>
              <a:gd name="connsiteY0" fmla="*/ 0 h 5143500"/>
              <a:gd name="connsiteX1" fmla="*/ 5364088 w 5364088"/>
              <a:gd name="connsiteY1" fmla="*/ 0 h 5143500"/>
              <a:gd name="connsiteX2" fmla="*/ 5364088 w 5364088"/>
              <a:gd name="connsiteY2" fmla="*/ 5143500 h 5143500"/>
              <a:gd name="connsiteX3" fmla="*/ 0 w 5364088"/>
              <a:gd name="connsiteY3" fmla="*/ 5143500 h 5143500"/>
              <a:gd name="connsiteX4" fmla="*/ 0 w 5364088"/>
              <a:gd name="connsiteY4" fmla="*/ 0 h 5143500"/>
              <a:gd name="connsiteX0" fmla="*/ 0 w 6583288"/>
              <a:gd name="connsiteY0" fmla="*/ 0 h 5143500"/>
              <a:gd name="connsiteX1" fmla="*/ 6583288 w 6583288"/>
              <a:gd name="connsiteY1" fmla="*/ 13855 h 5143500"/>
              <a:gd name="connsiteX2" fmla="*/ 5364088 w 6583288"/>
              <a:gd name="connsiteY2" fmla="*/ 5143500 h 5143500"/>
              <a:gd name="connsiteX3" fmla="*/ 0 w 6583288"/>
              <a:gd name="connsiteY3" fmla="*/ 5143500 h 5143500"/>
              <a:gd name="connsiteX4" fmla="*/ 0 w 6583288"/>
              <a:gd name="connsiteY4" fmla="*/ 0 h 5143500"/>
              <a:gd name="connsiteX0" fmla="*/ 0 w 6666415"/>
              <a:gd name="connsiteY0" fmla="*/ 0 h 5143500"/>
              <a:gd name="connsiteX1" fmla="*/ 6666415 w 6666415"/>
              <a:gd name="connsiteY1" fmla="*/ 0 h 5143500"/>
              <a:gd name="connsiteX2" fmla="*/ 5364088 w 6666415"/>
              <a:gd name="connsiteY2" fmla="*/ 5143500 h 5143500"/>
              <a:gd name="connsiteX3" fmla="*/ 0 w 6666415"/>
              <a:gd name="connsiteY3" fmla="*/ 5143500 h 5143500"/>
              <a:gd name="connsiteX4" fmla="*/ 0 w 6666415"/>
              <a:gd name="connsiteY4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66415" h="5143500">
                <a:moveTo>
                  <a:pt x="0" y="0"/>
                </a:moveTo>
                <a:lnTo>
                  <a:pt x="6666415" y="0"/>
                </a:lnTo>
                <a:lnTo>
                  <a:pt x="5364088" y="5143500"/>
                </a:lnTo>
                <a:lnTo>
                  <a:pt x="0" y="51435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7036" dirty="0"/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FEF256D4-184A-0842-8E1D-EE8A003A6064}"/>
              </a:ext>
            </a:extLst>
          </p:cNvPr>
          <p:cNvSpPr/>
          <p:nvPr/>
        </p:nvSpPr>
        <p:spPr>
          <a:xfrm>
            <a:off x="7" y="2"/>
            <a:ext cx="35740972" cy="3657829"/>
          </a:xfrm>
          <a:custGeom>
            <a:avLst/>
            <a:gdLst/>
            <a:ahLst/>
            <a:cxnLst/>
            <a:rect l="l" t="t" r="r" b="b"/>
            <a:pathLst>
              <a:path w="6120130" h="1176020">
                <a:moveTo>
                  <a:pt x="6120003" y="0"/>
                </a:moveTo>
                <a:lnTo>
                  <a:pt x="0" y="0"/>
                </a:lnTo>
                <a:lnTo>
                  <a:pt x="0" y="702094"/>
                </a:lnTo>
                <a:lnTo>
                  <a:pt x="6120003" y="1175715"/>
                </a:lnTo>
                <a:lnTo>
                  <a:pt x="6120003" y="0"/>
                </a:lnTo>
                <a:close/>
              </a:path>
            </a:pathLst>
          </a:custGeom>
          <a:solidFill>
            <a:srgbClr val="4D2A86"/>
          </a:solidFill>
        </p:spPr>
        <p:txBody>
          <a:bodyPr wrap="square" lIns="0" tIns="0" rIns="0" bIns="0" rtlCol="0"/>
          <a:lstStyle/>
          <a:p>
            <a:endParaRPr sz="7036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0A1A0803-DC0F-DB47-8BCD-36887E6CE86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5332749" y="491931"/>
            <a:ext cx="9448583" cy="1973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38379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33809" y="3181730"/>
            <a:ext cx="22328808" cy="839090"/>
          </a:xfrm>
        </p:spPr>
        <p:txBody>
          <a:bodyPr rIns="0">
            <a:noAutofit/>
          </a:bodyPr>
          <a:lstStyle>
            <a:lvl1pPr>
              <a:defRPr sz="5277"/>
            </a:lvl1pPr>
          </a:lstStyle>
          <a:p>
            <a:pPr lvl="0"/>
            <a:r>
              <a:rPr lang="en-US"/>
              <a:t>Click to edit Master subtitle style if required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33811" y="1964446"/>
            <a:ext cx="22328805" cy="1217283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237588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2680574" y="6232271"/>
            <a:ext cx="30379832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5361149" y="11258301"/>
            <a:ext cx="2501868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4018633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474957" y="2236325"/>
            <a:ext cx="20791066" cy="815591"/>
          </a:xfrm>
        </p:spPr>
        <p:txBody>
          <a:bodyPr lIns="0" tIns="0" rIns="0" bIns="0"/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5967674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474957" y="2236325"/>
            <a:ext cx="20791066" cy="815591"/>
          </a:xfrm>
        </p:spPr>
        <p:txBody>
          <a:bodyPr lIns="0" tIns="0" rIns="0" bIns="0"/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787052" y="4623948"/>
            <a:ext cx="1554732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8406602" y="4623948"/>
            <a:ext cx="1554732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714616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agonal 01 +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immagine 7">
            <a:extLst>
              <a:ext uri="{FF2B5EF4-FFF2-40B4-BE49-F238E27FC236}">
                <a16:creationId xmlns:a16="http://schemas.microsoft.com/office/drawing/2014/main" id="{AC0DBD78-CAF6-B04D-B91B-60847BFDC2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8216" y="7434348"/>
            <a:ext cx="35797407" cy="12669752"/>
          </a:xfrm>
          <a:custGeom>
            <a:avLst/>
            <a:gdLst>
              <a:gd name="connsiteX0" fmla="*/ 12211249 w 12211249"/>
              <a:gd name="connsiteY0" fmla="*/ 0 h 4321962"/>
              <a:gd name="connsiteX1" fmla="*/ 12201839 w 12211249"/>
              <a:gd name="connsiteY1" fmla="*/ 4321962 h 4321962"/>
              <a:gd name="connsiteX2" fmla="*/ 9370 w 12211249"/>
              <a:gd name="connsiteY2" fmla="*/ 4321962 h 4321962"/>
              <a:gd name="connsiteX3" fmla="*/ 8422 w 12211249"/>
              <a:gd name="connsiteY3" fmla="*/ 3956862 h 4321962"/>
              <a:gd name="connsiteX4" fmla="*/ 0 w 12211249"/>
              <a:gd name="connsiteY4" fmla="*/ 636471 h 4321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249" h="4321962">
                <a:moveTo>
                  <a:pt x="12211249" y="0"/>
                </a:moveTo>
                <a:lnTo>
                  <a:pt x="12201839" y="4321962"/>
                </a:lnTo>
                <a:lnTo>
                  <a:pt x="9370" y="4321962"/>
                </a:lnTo>
                <a:lnTo>
                  <a:pt x="8422" y="3956862"/>
                </a:lnTo>
                <a:cubicBezTo>
                  <a:pt x="5615" y="2864650"/>
                  <a:pt x="2807" y="1706805"/>
                  <a:pt x="0" y="636471"/>
                </a:cubicBezTo>
                <a:close/>
              </a:path>
            </a:pathLst>
          </a:cu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noAutofit/>
          </a:bodyPr>
          <a:lstStyle/>
          <a:p>
            <a:r>
              <a:rPr lang="it-IT"/>
              <a:t>Fare clic sull'icona per inserire un'immagin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7"/>
            <a:ext cx="27227869" cy="261076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D529A0D-6FE4-C84C-A999-6FC86AC640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6714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474957" y="2236325"/>
            <a:ext cx="20791066" cy="815591"/>
          </a:xfrm>
        </p:spPr>
        <p:txBody>
          <a:bodyPr lIns="0" tIns="0" rIns="0" bIns="0"/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9477395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0700112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X interna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7" y="780944"/>
            <a:ext cx="27187798" cy="81560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9C143-65AA-4D28-A4EC-5712101CF5F6}" type="slidenum">
              <a:rPr lang="it-IT" smtClean="0"/>
              <a:t>‹Nº›</a:t>
            </a:fld>
            <a:endParaRPr lang="it-IT"/>
          </a:p>
        </p:txBody>
      </p:sp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B5A9FB7F-541C-804B-B1A5-041A37C3222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56412" y="4337430"/>
            <a:ext cx="33628162" cy="138499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3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37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Big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54" y="274625"/>
            <a:ext cx="27235013" cy="17457339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1A90189E-4A33-264D-85CF-D812223867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965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Viole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0135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3" name="Segnaposto testo 11">
            <a:extLst>
              <a:ext uri="{FF2B5EF4-FFF2-40B4-BE49-F238E27FC236}">
                <a16:creationId xmlns:a16="http://schemas.microsoft.com/office/drawing/2014/main" id="{8D8B091B-0B26-2147-91E5-3A9673EA1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6414" y="4221341"/>
            <a:ext cx="27186728" cy="13877009"/>
          </a:xfrm>
        </p:spPr>
        <p:txBody>
          <a:bodyPr numCol="1" spcCol="72000"/>
          <a:lstStyle>
            <a:lvl1pPr marL="0" indent="0">
              <a:buFont typeface="Arial" panose="020B0604020202020204" pitchFamily="34" charset="0"/>
              <a:buNone/>
              <a:defRPr sz="10553"/>
            </a:lvl1pPr>
            <a:lvl2pPr marL="1033157" indent="0">
              <a:buNone/>
              <a:tabLst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055369" indent="0">
              <a:buNone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buNone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0" indent="0">
              <a:buNone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C21C7E5-1692-5544-862A-C9D3D2AF917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486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 interna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5"/>
            <a:ext cx="27187798" cy="260260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9C143-65AA-4D28-A4EC-5712101CF5F6}" type="slidenum">
              <a:rPr lang="it-IT" smtClean="0"/>
              <a:t>‹Nº›</a:t>
            </a:fld>
            <a:endParaRPr lang="it-IT"/>
          </a:p>
        </p:txBody>
      </p:sp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B5A9FB7F-541C-804B-B1A5-041A37C3222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56412" y="4337428"/>
            <a:ext cx="3362816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7A6836E3-0C7F-49A2-B9C7-8CC3CF2CC1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6057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4" y="4337428"/>
            <a:ext cx="27186728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F43BDBA-F11D-EE40-9797-58AFB3D8B90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9237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5"/>
            <a:ext cx="27187798" cy="260260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2" y="4337428"/>
            <a:ext cx="33628162" cy="13877413"/>
          </a:xfrm>
        </p:spPr>
        <p:txBody>
          <a:bodyPr numCol="2" spcCol="7632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3ED3FDB6-BA04-F342-AA06-D802BAED4F9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042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7870487" y="0"/>
            <a:ext cx="17870488" cy="20104100"/>
          </a:xfrm>
        </p:spPr>
        <p:txBody>
          <a:bodyPr tIns="14796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3" y="780951"/>
            <a:ext cx="15756282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4" y="4337428"/>
            <a:ext cx="1575628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63B039C4-929E-8E46-915A-636695F634F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446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1 Content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769953" y="0"/>
            <a:ext cx="22971022" cy="20104100"/>
          </a:xfrm>
        </p:spPr>
        <p:txBody>
          <a:bodyPr tIns="14796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44" y="780947"/>
            <a:ext cx="10658972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08" y="4337428"/>
            <a:ext cx="1065897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AB9DEE09-4CAC-D54B-A6EE-92FA4A71D8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  <p:sp>
        <p:nvSpPr>
          <p:cNvPr id="3" name="Rectángulo 2">
            <a:extLst>
              <a:ext uri="{FF2B5EF4-FFF2-40B4-BE49-F238E27FC236}">
                <a16:creationId xmlns:a16="http://schemas.microsoft.com/office/drawing/2014/main" id="{577C4DF3-266B-2348-A7F8-7224D19A8BCC}"/>
              </a:ext>
            </a:extLst>
          </p:cNvPr>
          <p:cNvSpPr/>
          <p:nvPr/>
        </p:nvSpPr>
        <p:spPr>
          <a:xfrm>
            <a:off x="12769953" y="6226691"/>
            <a:ext cx="22971022" cy="138774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5280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8C5FF3A9-B9A6-9A4E-8863-86D548863916}"/>
              </a:ext>
            </a:extLst>
          </p:cNvPr>
          <p:cNvSpPr/>
          <p:nvPr/>
        </p:nvSpPr>
        <p:spPr>
          <a:xfrm>
            <a:off x="17870493" y="0"/>
            <a:ext cx="17870488" cy="20104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5280"/>
          </a:p>
        </p:txBody>
      </p:sp>
    </p:spTree>
    <p:extLst>
      <p:ext uri="{BB962C8B-B14F-4D97-AF65-F5344CB8AC3E}">
        <p14:creationId xmlns:p14="http://schemas.microsoft.com/office/powerpoint/2010/main" val="445377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72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7870488" y="0"/>
            <a:ext cx="9075956" cy="10105614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6" name="Segnaposto contenuto 3">
            <a:extLst>
              <a:ext uri="{FF2B5EF4-FFF2-40B4-BE49-F238E27FC236}">
                <a16:creationId xmlns:a16="http://schemas.microsoft.com/office/drawing/2014/main" id="{7D6CC853-255B-824E-A7A2-2EF8208D39C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26867958" y="0"/>
            <a:ext cx="8972474" cy="10105614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3" name="Segnaposto contenuto 3">
            <a:extLst>
              <a:ext uri="{FF2B5EF4-FFF2-40B4-BE49-F238E27FC236}">
                <a16:creationId xmlns:a16="http://schemas.microsoft.com/office/drawing/2014/main" id="{56539D69-1730-D946-842C-4E88BAA0E7E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7870488" y="10052053"/>
            <a:ext cx="9075956" cy="10052050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8" name="Segnaposto contenuto 3">
            <a:extLst>
              <a:ext uri="{FF2B5EF4-FFF2-40B4-BE49-F238E27FC236}">
                <a16:creationId xmlns:a16="http://schemas.microsoft.com/office/drawing/2014/main" id="{0E70E214-3747-E44E-B8F1-2C27A6C7C37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26867958" y="10052053"/>
            <a:ext cx="8972474" cy="10052050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3" y="780947"/>
            <a:ext cx="15756282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4" y="4337428"/>
            <a:ext cx="1575628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2B22290-4779-AF4A-BCEC-3C6B9E585E9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8398159" y="8326587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4" name="Segnaposto testo 4">
            <a:extLst>
              <a:ext uri="{FF2B5EF4-FFF2-40B4-BE49-F238E27FC236}">
                <a16:creationId xmlns:a16="http://schemas.microsoft.com/office/drawing/2014/main" id="{FE9B906D-E240-E441-A0B1-884C6BB6F2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398159" y="18352254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46FD622B-D899-964C-9302-302BFD4286F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395630" y="8326587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9" name="Segnaposto testo 4">
            <a:extLst>
              <a:ext uri="{FF2B5EF4-FFF2-40B4-BE49-F238E27FC236}">
                <a16:creationId xmlns:a16="http://schemas.microsoft.com/office/drawing/2014/main" id="{6F0B5972-26DD-2349-A623-C5B1354848A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395630" y="18352254"/>
            <a:ext cx="7917130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C70D1668-EDB7-1C4A-AA3E-2745DC15BE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591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76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4 Contents b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contenuto 3">
            <a:extLst>
              <a:ext uri="{FF2B5EF4-FFF2-40B4-BE49-F238E27FC236}">
                <a16:creationId xmlns:a16="http://schemas.microsoft.com/office/drawing/2014/main" id="{D11AE063-B3BB-804D-ADD7-45E615F3972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24306658" y="0"/>
            <a:ext cx="11536704" cy="10052050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4" name="Segnaposto contenuto 3">
            <a:extLst>
              <a:ext uri="{FF2B5EF4-FFF2-40B4-BE49-F238E27FC236}">
                <a16:creationId xmlns:a16="http://schemas.microsoft.com/office/drawing/2014/main" id="{2A7172DD-51AB-924A-86CD-B6E3CCC6F9C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4306658" y="10068043"/>
            <a:ext cx="11536704" cy="10036065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BB4845B8-F292-C142-A0D0-FC639C25D27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4834330" y="857986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26E32F49-6C70-2549-8747-C0838E2878D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834330" y="1861608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2769954" y="0"/>
            <a:ext cx="11536704" cy="10052050"/>
          </a:xfrm>
        </p:spPr>
        <p:txBody>
          <a:bodyPr lIns="180000" tIns="324000" rIns="180000" bIns="18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44" y="780951"/>
            <a:ext cx="10658972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08" y="4337428"/>
            <a:ext cx="1065897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contenuto 3">
            <a:extLst>
              <a:ext uri="{FF2B5EF4-FFF2-40B4-BE49-F238E27FC236}">
                <a16:creationId xmlns:a16="http://schemas.microsoft.com/office/drawing/2014/main" id="{39ABB231-567E-2344-9D2F-0AA9B12FE25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2769954" y="10068043"/>
            <a:ext cx="11536704" cy="10036065"/>
          </a:xfrm>
        </p:spPr>
        <p:txBody>
          <a:bodyPr lIns="180000" tIns="180000" rIns="18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27AD12E-F3B9-164C-870D-F4F7A087D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297626" y="857986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04A3727F-72F0-5542-87BE-9D8ED69550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297626" y="18616087"/>
            <a:ext cx="10481360" cy="527670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B7CDEF29-8C82-5348-BBA6-24617649B8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8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22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0"/>
            <a:ext cx="35740975" cy="20104100"/>
          </a:xfrm>
        </p:spPr>
        <p:txBody>
          <a:bodyPr lIns="360000" tIns="324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9121193-2BBB-D24C-A168-B0B9B81D526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67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contenuto 3">
            <a:extLst>
              <a:ext uri="{FF2B5EF4-FFF2-40B4-BE49-F238E27FC236}">
                <a16:creationId xmlns:a16="http://schemas.microsoft.com/office/drawing/2014/main" id="{960D9F89-9DD5-A246-A34F-A9FD915F62C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7870493" y="0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Segnaposto contenuto 3">
            <a:extLst>
              <a:ext uri="{FF2B5EF4-FFF2-40B4-BE49-F238E27FC236}">
                <a16:creationId xmlns:a16="http://schemas.microsoft.com/office/drawing/2014/main" id="{321D2053-7BAA-DA4A-9A98-210EABB3E3E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7870493" y="10052053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0" y="0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1145717" y="18098350"/>
            <a:ext cx="3539925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5" name="Segnaposto contenuto 3">
            <a:extLst>
              <a:ext uri="{FF2B5EF4-FFF2-40B4-BE49-F238E27FC236}">
                <a16:creationId xmlns:a16="http://schemas.microsoft.com/office/drawing/2014/main" id="{6810EAA0-20CA-614A-B2A7-CE8383C818D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0" y="10052053"/>
            <a:ext cx="17870488" cy="10052050"/>
          </a:xfrm>
        </p:spPr>
        <p:txBody>
          <a:bodyPr lIns="360000" tIns="324000" rIns="360000" bIns="3600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9EB9147B-B6D0-4841-9C8E-89776E395DF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922315" y="18356566"/>
            <a:ext cx="12751065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BA1DF99-0066-4F4F-B382-9B8EC0128A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055344" y="18356566"/>
            <a:ext cx="16582792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4E821A1D-EC21-4B4E-AE49-4B6FC531BEA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8922315" y="8189394"/>
            <a:ext cx="12751065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0D98FF92-C4E8-DB46-963C-599DA9544DB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55344" y="8189394"/>
            <a:ext cx="16582792" cy="812141"/>
          </a:xfrm>
        </p:spPr>
        <p:txBody>
          <a:bodyPr anchor="b"/>
          <a:lstStyle>
            <a:lvl1pPr marL="0" indent="0">
              <a:buNone/>
              <a:defRPr sz="3518"/>
            </a:lvl1pPr>
            <a:lvl2pPr marL="527682" indent="0">
              <a:buNone/>
              <a:defRPr sz="3518"/>
            </a:lvl2pPr>
            <a:lvl3pPr marL="1055369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D2B3AECB-9C11-D844-9941-57B79B0A655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74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 Divider Viole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62B90481-F1C6-FB46-9B5A-2226355EA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35"/>
            <a:ext cx="14830561" cy="1771114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E1E1B52A-6759-B040-85E0-D4584BB092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97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hapter X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F84BE1EC-8B44-AA4B-AF0B-3784D1856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28"/>
            <a:ext cx="14830561" cy="17711143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ACF907A-C430-1144-9631-381DDFBDC0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1963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787051" y="4623946"/>
            <a:ext cx="1554732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8406601" y="4623946"/>
            <a:ext cx="1554732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igura a mano libera 12">
            <a:extLst>
              <a:ext uri="{FF2B5EF4-FFF2-40B4-BE49-F238E27FC236}">
                <a16:creationId xmlns:a16="http://schemas.microsoft.com/office/drawing/2014/main" id="{DE6E89FD-6BDA-D040-85EC-38021D1A0DB7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FA953F46-4EC4-7343-92BC-646A2EF803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18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10" name="Figura a mano libera 9">
            <a:extLst>
              <a:ext uri="{FF2B5EF4-FFF2-40B4-BE49-F238E27FC236}">
                <a16:creationId xmlns:a16="http://schemas.microsoft.com/office/drawing/2014/main" id="{CA80805F-02A4-EA41-AF4C-FC00BA725C8B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B83E1B37-C0AD-9249-8FCA-B52D28A94A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1738710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717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5B910A40-25D2-8E4C-8726-EA225ADDD2A1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70A1AE0-9ABE-A64B-93E3-7AB025D4CA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1738710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8560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55FDC597-4E71-D64E-8E1F-5BA25C7FA53B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49B8B41D-FF4C-C549-B377-EDE0274FB0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964407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343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Divider 05 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B0FAA9D-6025-A149-B304-B37124CBDFD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1681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DB9AF39E-0CAD-0743-B462-8AF961363549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66547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72827E7A-44B4-F14D-BE45-6282F5E0E2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450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Industries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9B7D9855-EC86-9041-821F-CB8FB9D725AC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3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E4C47175-D58C-284F-B765-C5E6A470E2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99918" y="478523"/>
            <a:ext cx="11112195" cy="2594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1372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339FB361-A6EF-284C-83CB-3F60474D9748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AE04628-1C5F-B74B-954A-D84E89E25D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4638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387BE54C-DFFE-834E-937F-2B5F2EAFF1F4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D9AD3E9-4827-C64F-8DB5-7B7D888EBF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1738710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3FA38DF7-0106-1747-9747-F601008B4C8F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8E1FC35-4A7F-C249-A05E-10FC3AE2DBE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1738710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909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592A2241-5DEB-D64F-B969-30EAF3D96A54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7E7518AF-F6EF-7845-80C8-7629D63E3B2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964407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1349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Divider 05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magine" descr="Immagine">
            <a:extLst>
              <a:ext uri="{FF2B5EF4-FFF2-40B4-BE49-F238E27FC236}">
                <a16:creationId xmlns:a16="http://schemas.microsoft.com/office/drawing/2014/main" id="{A691A1F1-02F9-4147-A3DD-339B98A942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7469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C2AC571F-2089-7045-8F08-F89D0F7CC133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189852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City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3B898C8A-ED7E-A14B-BBA1-565D3B4E8F1E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1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4169504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2C308451-A357-8846-8F59-0E8776C2B027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6996644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958747BC-E639-0F48-8D2F-D64D685002E4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012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F451FA6A-3512-7B44-A33A-21D42FA4421C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803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96DB40AA-3307-4440-A01D-FCB34E9F248D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3729293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Divider 05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magine" descr="Immagine">
            <a:extLst>
              <a:ext uri="{FF2B5EF4-FFF2-40B4-BE49-F238E27FC236}">
                <a16:creationId xmlns:a16="http://schemas.microsoft.com/office/drawing/2014/main" id="{A691A1F1-02F9-4147-A3DD-339B98A942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78395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0F0D5F2C-EC32-524A-93D2-571FDA1FB96B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0135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101064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Home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AD89FA91-1C07-4D43-8617-A88E3D1932FE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2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0135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268854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15A447FE-F3A4-E243-8807-F4070C16B39F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874766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CD27EF5E-D575-414F-BB08-84182102F884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5313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F124B127-5F38-214D-AB50-2196E8B9FDC1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621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D1845E5A-54EF-274D-9449-75C32D29FAD1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051003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Divider 05 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394DA496-AAE0-1645-A682-81FCAAB113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5957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93D90E74-6B79-A64C-A59C-D7184C5C727D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705210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-Mobility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627C4277-5EBF-314A-86CB-AD4DA0DB2A69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5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8819840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1D71A102-18BB-3843-8B11-7C86E77D3BDD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29152190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0AE5AE29-8A9A-8540-907F-1254A48F489D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701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iolet 0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134027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344" y="2427274"/>
            <a:ext cx="27227869" cy="1340276"/>
          </a:xfrm>
        </p:spPr>
        <p:txBody>
          <a:bodyPr/>
          <a:lstStyle>
            <a:lvl1pPr marL="0" indent="0" algn="l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5" y="18098342"/>
            <a:ext cx="19434158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783C5A1-BFA4-504F-B34F-AC4F6AE7282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4496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1B0C69F9-E6D2-294B-99A9-642F9145E7BC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9813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45510A5A-466D-994E-BA9C-DE59D1AF9416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42465844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Divider 05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4A5CDF0D-1356-154B-98AB-0A9226AC87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70054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9257561B-07E5-7846-8D8C-A8166D2AA870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5880939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 Services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B87752E2-60F1-054F-8490-E86DA6A30CD4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4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74332128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1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312FE73B-61E2-214C-B621-16A09B11CA31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8" y="274394"/>
            <a:ext cx="27158820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903861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FD21D3FB-CCE5-0747-B419-69821A45FB0F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8"/>
            <a:ext cx="27227869" cy="262474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425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82477C38-6707-6F4D-9CA3-7A1022D58B55}"/>
              </a:ext>
            </a:extLst>
          </p:cNvPr>
          <p:cNvSpPr/>
          <p:nvPr/>
        </p:nvSpPr>
        <p:spPr>
          <a:xfrm>
            <a:off x="11949008" y="5189"/>
            <a:ext cx="23791977" cy="20098911"/>
          </a:xfrm>
          <a:custGeom>
            <a:avLst/>
            <a:gdLst>
              <a:gd name="connsiteX0" fmla="*/ 6867487 w 8115945"/>
              <a:gd name="connsiteY0" fmla="*/ 0 h 6856230"/>
              <a:gd name="connsiteX1" fmla="*/ 8115945 w 8115945"/>
              <a:gd name="connsiteY1" fmla="*/ 0 h 6856230"/>
              <a:gd name="connsiteX2" fmla="*/ 8115945 w 8115945"/>
              <a:gd name="connsiteY2" fmla="*/ 6856230 h 6856230"/>
              <a:gd name="connsiteX3" fmla="*/ 0 w 8115945"/>
              <a:gd name="connsiteY3" fmla="*/ 6856230 h 6856230"/>
              <a:gd name="connsiteX4" fmla="*/ 0 w 8115945"/>
              <a:gd name="connsiteY4" fmla="*/ 6848392 h 68562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5945" h="6856230">
                <a:moveTo>
                  <a:pt x="6867487" y="0"/>
                </a:moveTo>
                <a:lnTo>
                  <a:pt x="8115945" y="0"/>
                </a:lnTo>
                <a:lnTo>
                  <a:pt x="8115945" y="6856230"/>
                </a:lnTo>
                <a:lnTo>
                  <a:pt x="0" y="6856230"/>
                </a:lnTo>
                <a:lnTo>
                  <a:pt x="0" y="6848392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74387"/>
            <a:ext cx="27227869" cy="15076064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D4B408CF-1E30-A34E-A943-15C58AD4AB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4" y="17527776"/>
            <a:ext cx="5882372" cy="1489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937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4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igura a mano libera 5">
            <a:extLst>
              <a:ext uri="{FF2B5EF4-FFF2-40B4-BE49-F238E27FC236}">
                <a16:creationId xmlns:a16="http://schemas.microsoft.com/office/drawing/2014/main" id="{22BB46C1-EDD1-3F42-80E8-FB025B88DA64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BE35F168-FB1D-0B49-A47C-5AB7EE8C73C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352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33635" y="274394"/>
            <a:ext cx="19552002" cy="15643684"/>
          </a:xfrm>
        </p:spPr>
        <p:txBody>
          <a:bodyPr/>
          <a:lstStyle>
            <a:lvl1pPr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1887513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Divider 05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0" y="274394"/>
            <a:ext cx="27249691" cy="15643684"/>
          </a:xfrm>
        </p:spPr>
        <p:txBody>
          <a:bodyPr/>
          <a:lstStyle>
            <a:lvl1pPr>
              <a:defRPr sz="25214">
                <a:solidFill>
                  <a:schemeClr val="bg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394DA496-AAE0-1645-A682-81FCAAB113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9681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iolet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55342"/>
            <a:ext cx="25117181" cy="17457339"/>
          </a:xfrm>
        </p:spPr>
        <p:txBody>
          <a:bodyPr anchor="t"/>
          <a:lstStyle>
            <a:lvl1pPr algn="l">
              <a:defRPr sz="25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5" y="18098342"/>
            <a:ext cx="19434158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8AECCC9-44BD-314D-ABA8-D0C721777A9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872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Violet Blan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igura a mano libera 8">
            <a:extLst>
              <a:ext uri="{FF2B5EF4-FFF2-40B4-BE49-F238E27FC236}">
                <a16:creationId xmlns:a16="http://schemas.microsoft.com/office/drawing/2014/main" id="{7A0847B1-72A7-FE48-A47B-F90AA2421AC7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4D068B8-57DE-2540-8C05-738C4B59EBA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C8B8977B-C3A7-4744-9FB5-4F178D85DF1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719751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ovability 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igura a mano libera 7">
            <a:extLst>
              <a:ext uri="{FF2B5EF4-FFF2-40B4-BE49-F238E27FC236}">
                <a16:creationId xmlns:a16="http://schemas.microsoft.com/office/drawing/2014/main" id="{8802B257-1A2E-5943-83C4-B7D8F0347C62}"/>
              </a:ext>
            </a:extLst>
          </p:cNvPr>
          <p:cNvSpPr/>
          <p:nvPr/>
        </p:nvSpPr>
        <p:spPr>
          <a:xfrm>
            <a:off x="0" y="16756537"/>
            <a:ext cx="35740975" cy="3384111"/>
          </a:xfrm>
          <a:custGeom>
            <a:avLst/>
            <a:gdLst>
              <a:gd name="connsiteX0" fmla="*/ 12192000 w 12192000"/>
              <a:gd name="connsiteY0" fmla="*/ 0 h 1154403"/>
              <a:gd name="connsiteX1" fmla="*/ 12192000 w 12192000"/>
              <a:gd name="connsiteY1" fmla="*/ 1154403 h 1154403"/>
              <a:gd name="connsiteX2" fmla="*/ 0 w 12192000"/>
              <a:gd name="connsiteY2" fmla="*/ 1154403 h 1154403"/>
              <a:gd name="connsiteX3" fmla="*/ 0 w 12192000"/>
              <a:gd name="connsiteY3" fmla="*/ 656404 h 115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154403">
                <a:moveTo>
                  <a:pt x="12192000" y="0"/>
                </a:moveTo>
                <a:lnTo>
                  <a:pt x="12192000" y="1154403"/>
                </a:lnTo>
                <a:lnTo>
                  <a:pt x="0" y="1154403"/>
                </a:lnTo>
                <a:lnTo>
                  <a:pt x="0" y="656404"/>
                </a:lnTo>
                <a:close/>
              </a:path>
            </a:pathLst>
          </a:custGeom>
          <a:solidFill>
            <a:schemeClr val="accent6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09413" tIns="209413" rIns="209413" bIns="209413" numCol="1" spcCol="381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1340314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it-IT" sz="3518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Avenir Book"/>
              <a:ea typeface="Avenir Book"/>
              <a:cs typeface="Avenir Book"/>
              <a:sym typeface="Avenir Book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7"/>
            <a:ext cx="27187798" cy="26107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EEDC919E-66A6-314D-A74D-9CF54D40CC3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4597" y="1055341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DB8D96-FB12-4747-AD14-7BF60E158B7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56408" y="4337427"/>
            <a:ext cx="33599430" cy="13358201"/>
          </a:xfrm>
          <a:custGeom>
            <a:avLst/>
            <a:gdLst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71636 w 11471636"/>
              <a:gd name="connsiteY3" fmla="*/ 4598373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71636"/>
              <a:gd name="connsiteY0" fmla="*/ 0 h 4598373"/>
              <a:gd name="connsiteX1" fmla="*/ 10705225 w 11471636"/>
              <a:gd name="connsiteY1" fmla="*/ 0 h 4598373"/>
              <a:gd name="connsiteX2" fmla="*/ 11471636 w 11471636"/>
              <a:gd name="connsiteY2" fmla="*/ 766411 h 4598373"/>
              <a:gd name="connsiteX3" fmla="*/ 11461003 w 11471636"/>
              <a:gd name="connsiteY3" fmla="*/ 3949787 h 4598373"/>
              <a:gd name="connsiteX4" fmla="*/ 0 w 11471636"/>
              <a:gd name="connsiteY4" fmla="*/ 4598373 h 4598373"/>
              <a:gd name="connsiteX5" fmla="*/ 0 w 11471636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22131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12505 h 4610878"/>
              <a:gd name="connsiteX1" fmla="*/ 10705225 w 11461474"/>
              <a:gd name="connsiteY1" fmla="*/ 12505 h 4610878"/>
              <a:gd name="connsiteX2" fmla="*/ 11450371 w 11461474"/>
              <a:gd name="connsiteY2" fmla="*/ 0 h 4610878"/>
              <a:gd name="connsiteX3" fmla="*/ 11461003 w 11461474"/>
              <a:gd name="connsiteY3" fmla="*/ 3962292 h 4610878"/>
              <a:gd name="connsiteX4" fmla="*/ 0 w 11461474"/>
              <a:gd name="connsiteY4" fmla="*/ 4610878 h 4610878"/>
              <a:gd name="connsiteX5" fmla="*/ 0 w 11461474"/>
              <a:gd name="connsiteY5" fmla="*/ 12505 h 4610878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5204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98373"/>
              <a:gd name="connsiteX1" fmla="*/ 10705225 w 11461474"/>
              <a:gd name="connsiteY1" fmla="*/ 0 h 4598373"/>
              <a:gd name="connsiteX2" fmla="*/ 11450371 w 11461474"/>
              <a:gd name="connsiteY2" fmla="*/ 1349 h 4598373"/>
              <a:gd name="connsiteX3" fmla="*/ 11461003 w 11461474"/>
              <a:gd name="connsiteY3" fmla="*/ 3949787 h 4598373"/>
              <a:gd name="connsiteX4" fmla="*/ 0 w 11461474"/>
              <a:gd name="connsiteY4" fmla="*/ 4598373 h 4598373"/>
              <a:gd name="connsiteX5" fmla="*/ 0 w 11461474"/>
              <a:gd name="connsiteY5" fmla="*/ 0 h 4598373"/>
              <a:gd name="connsiteX0" fmla="*/ 0 w 11461474"/>
              <a:gd name="connsiteY0" fmla="*/ 0 h 4556809"/>
              <a:gd name="connsiteX1" fmla="*/ 10705225 w 11461474"/>
              <a:gd name="connsiteY1" fmla="*/ 0 h 4556809"/>
              <a:gd name="connsiteX2" fmla="*/ 11450371 w 11461474"/>
              <a:gd name="connsiteY2" fmla="*/ 1349 h 4556809"/>
              <a:gd name="connsiteX3" fmla="*/ 11461003 w 11461474"/>
              <a:gd name="connsiteY3" fmla="*/ 3949787 h 4556809"/>
              <a:gd name="connsiteX4" fmla="*/ 0 w 11461474"/>
              <a:gd name="connsiteY4" fmla="*/ 4556809 h 4556809"/>
              <a:gd name="connsiteX5" fmla="*/ 0 w 11461474"/>
              <a:gd name="connsiteY5" fmla="*/ 0 h 4556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61474" h="4556809">
                <a:moveTo>
                  <a:pt x="0" y="0"/>
                </a:moveTo>
                <a:lnTo>
                  <a:pt x="10705225" y="0"/>
                </a:lnTo>
                <a:lnTo>
                  <a:pt x="11450371" y="1349"/>
                </a:lnTo>
                <a:cubicBezTo>
                  <a:pt x="11446827" y="1062474"/>
                  <a:pt x="11464547" y="2888662"/>
                  <a:pt x="11461003" y="3949787"/>
                </a:cubicBezTo>
                <a:lnTo>
                  <a:pt x="0" y="4556809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4106682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ure 0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2665470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AB00519-51E8-1D47-8E8C-950CF827EC5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3962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ure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344" y="1055334"/>
            <a:ext cx="33642805" cy="17993433"/>
          </a:xfrm>
        </p:spPr>
        <p:txBody>
          <a:bodyPr anchor="ctr"/>
          <a:lstStyle>
            <a:lvl1pPr>
              <a:defRPr sz="49838"/>
            </a:lvl1pPr>
          </a:lstStyle>
          <a:p>
            <a:r>
              <a:rPr lang="it-IT" err="1"/>
              <a:t>Thank</a:t>
            </a:r>
            <a:r>
              <a:rPr lang="it-IT"/>
              <a:t> </a:t>
            </a:r>
            <a:r>
              <a:rPr lang="it-IT" err="1"/>
              <a:t>you</a:t>
            </a:r>
            <a:r>
              <a:rPr lang="it-IT"/>
              <a:t>!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9EF55C4-BC51-7E40-AA41-6FB00F89B14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124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ure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D1BE63C-C873-154B-B2FE-334ECD3CA2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350" y="-651728"/>
            <a:ext cx="27174439" cy="18755580"/>
          </a:xfrm>
        </p:spPr>
        <p:txBody>
          <a:bodyPr anchor="t"/>
          <a:lstStyle>
            <a:lvl1pPr>
              <a:defRPr sz="52767"/>
            </a:lvl1pPr>
          </a:lstStyle>
          <a:p>
            <a:r>
              <a:rPr lang="it-IT" err="1"/>
              <a:t>Thank</a:t>
            </a:r>
            <a:r>
              <a:rPr lang="it-IT"/>
              <a:t> </a:t>
            </a:r>
            <a:r>
              <a:rPr lang="it-IT" err="1"/>
              <a:t>you</a:t>
            </a:r>
            <a:r>
              <a:rPr lang="it-IT"/>
              <a:t>!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3018E0B6-9490-064C-82EF-1A839EF29D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26025931" y="86693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972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8797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3518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997180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Negative on Photo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263761" y="5587168"/>
            <a:ext cx="22298871" cy="10486809"/>
          </a:xfrm>
        </p:spPr>
        <p:txBody>
          <a:bodyPr/>
          <a:lstStyle>
            <a:lvl1pPr>
              <a:defRPr sz="14071" b="0">
                <a:solidFill>
                  <a:schemeClr val="bg1"/>
                </a:solidFill>
              </a:defRPr>
            </a:lvl1pPr>
            <a:lvl2pPr>
              <a:defRPr b="0">
                <a:solidFill>
                  <a:schemeClr val="bg1"/>
                </a:solidFill>
              </a:defRPr>
            </a:lvl2pPr>
            <a:lvl3pPr>
              <a:defRPr b="0">
                <a:solidFill>
                  <a:schemeClr val="bg1"/>
                </a:solidFill>
              </a:defRPr>
            </a:lvl3pPr>
            <a:lvl4pPr>
              <a:defRPr b="0">
                <a:solidFill>
                  <a:schemeClr val="bg1"/>
                </a:solidFill>
              </a:defRPr>
            </a:lvl4pPr>
            <a:lvl5pPr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92131" y="18864028"/>
            <a:ext cx="24571914" cy="451120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s-E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214667" y="18605389"/>
            <a:ext cx="1283192" cy="968397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09620" y="1158198"/>
            <a:ext cx="6888325" cy="3444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86012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33820" y="6031236"/>
            <a:ext cx="15636682" cy="8805525"/>
          </a:xfrm>
          <a:prstGeom prst="rect">
            <a:avLst/>
          </a:prstGeom>
        </p:spPr>
        <p:txBody>
          <a:bodyPr/>
          <a:lstStyle>
            <a:lvl1pPr>
              <a:defRPr sz="4107">
                <a:solidFill>
                  <a:schemeClr val="bg1">
                    <a:lumMod val="50000"/>
                  </a:schemeClr>
                </a:solidFill>
              </a:defRPr>
            </a:lvl1pPr>
            <a:lvl2pPr marL="837623" indent="-83762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2pPr>
            <a:lvl3pPr marL="1582166" indent="-79108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3pPr>
            <a:lvl4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4pPr>
            <a:lvl5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7870512" y="6031236"/>
            <a:ext cx="15627369" cy="8805525"/>
          </a:xfrm>
          <a:prstGeom prst="rect">
            <a:avLst/>
          </a:prstGeom>
        </p:spPr>
        <p:txBody>
          <a:bodyPr/>
          <a:lstStyle>
            <a:lvl1pPr>
              <a:defRPr sz="4107">
                <a:solidFill>
                  <a:schemeClr val="bg1">
                    <a:lumMod val="50000"/>
                  </a:schemeClr>
                </a:solidFill>
              </a:defRPr>
            </a:lvl1pPr>
            <a:lvl2pPr marL="837623" indent="-83762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2pPr>
            <a:lvl3pPr marL="1582166" indent="-79108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3pPr>
            <a:lvl4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4pPr>
            <a:lvl5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263749" y="18362815"/>
            <a:ext cx="4428378" cy="451120"/>
          </a:xfrm>
          <a:prstGeom prst="rect">
            <a:avLst/>
          </a:prstGeom>
        </p:spPr>
        <p:txBody>
          <a:bodyPr/>
          <a:lstStyle>
            <a:lvl1pPr>
              <a:defRPr sz="3128">
                <a:solidFill>
                  <a:srgbClr val="461E7D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692140" y="18362815"/>
            <a:ext cx="24571914" cy="451120"/>
          </a:xfrm>
          <a:prstGeom prst="rect">
            <a:avLst/>
          </a:prstGeom>
        </p:spPr>
        <p:txBody>
          <a:bodyPr/>
          <a:lstStyle>
            <a:lvl1pPr>
              <a:defRPr sz="3128">
                <a:solidFill>
                  <a:srgbClr val="461E7D"/>
                </a:solidFill>
              </a:defRPr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1264054" y="18362815"/>
            <a:ext cx="2233811" cy="451120"/>
          </a:xfrm>
          <a:prstGeom prst="rect">
            <a:avLst/>
          </a:prstGeom>
        </p:spPr>
        <p:txBody>
          <a:bodyPr/>
          <a:lstStyle>
            <a:lvl1pPr>
              <a:defRPr sz="3128">
                <a:solidFill>
                  <a:srgbClr val="461E7D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FAC6E38-AC67-4D44-8C58-AC095A46B84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25" y="13410010"/>
            <a:ext cx="35716142" cy="6694100"/>
          </a:xfrm>
          <a:prstGeom prst="rect">
            <a:avLst/>
          </a:prstGeom>
        </p:spPr>
        <p:txBody>
          <a:bodyPr/>
          <a:lstStyle>
            <a:lvl1pPr>
              <a:defRPr sz="4107">
                <a:solidFill>
                  <a:schemeClr val="bg1">
                    <a:lumMod val="50000"/>
                  </a:schemeClr>
                </a:solidFill>
              </a:defRPr>
            </a:lvl1pPr>
            <a:lvl2pPr marL="837623" indent="-837623">
              <a:buFontTx/>
              <a:buBlip>
                <a:blip r:embed="rId3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2pPr>
            <a:lvl3pPr marL="1582166" indent="-791083">
              <a:buFontTx/>
              <a:buBlip>
                <a:blip r:embed="rId3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3pPr>
            <a:lvl4pPr marL="1586818" indent="-795735">
              <a:buFontTx/>
              <a:buBlip>
                <a:blip r:embed="rId3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4pPr>
            <a:lvl5pPr marL="1586818" indent="-795735">
              <a:buFontTx/>
              <a:buBlip>
                <a:blip r:embed="rId3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8A5F999-0B13-3649-A0FB-DDE8F4FD65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3818" y="2530291"/>
            <a:ext cx="21828710" cy="3581414"/>
          </a:xfrm>
          <a:prstGeom prst="rect">
            <a:avLst/>
          </a:prstGeom>
        </p:spPr>
        <p:txBody>
          <a:bodyPr/>
          <a:lstStyle>
            <a:lvl1pPr>
              <a:defRPr sz="10943">
                <a:solidFill>
                  <a:srgbClr val="461E7D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C06B0EB-C456-C849-BE71-E1E8F661FB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3823" y="1549140"/>
            <a:ext cx="22391621" cy="959782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defRPr sz="4301">
                <a:solidFill>
                  <a:srgbClr val="461E7D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58943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Key Message Only"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222" y="6216"/>
          <a:ext cx="6206" cy="62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81" imgH="381" progId="TCLayout.ActiveDocument.1">
                  <p:embed/>
                </p:oleObj>
              </mc:Choice>
              <mc:Fallback>
                <p:oleObj name="Diapositiva de think-cell" r:id="rId3" imgW="381" imgH="381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22" y="6216"/>
                        <a:ext cx="6206" cy="62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263749" y="18362815"/>
            <a:ext cx="4428378" cy="451120"/>
          </a:xfrm>
          <a:prstGeom prst="rect">
            <a:avLst/>
          </a:prstGeom>
        </p:spPr>
        <p:txBody>
          <a:bodyPr/>
          <a:lstStyle>
            <a:lvl1pPr rtl="0">
              <a:defRPr sz="3128">
                <a:solidFill>
                  <a:schemeClr val="bg1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92158" y="18362815"/>
            <a:ext cx="24571914" cy="451120"/>
          </a:xfrm>
          <a:prstGeom prst="rect">
            <a:avLst/>
          </a:prstGeom>
        </p:spPr>
        <p:txBody>
          <a:bodyPr/>
          <a:lstStyle>
            <a:lvl1pPr rtl="0">
              <a:defRPr sz="3128">
                <a:solidFill>
                  <a:schemeClr val="bg1"/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1264054" y="18362815"/>
            <a:ext cx="2233811" cy="451120"/>
          </a:xfrm>
          <a:prstGeom prst="rect">
            <a:avLst/>
          </a:prstGeom>
        </p:spPr>
        <p:txBody>
          <a:bodyPr/>
          <a:lstStyle>
            <a:lvl1pPr rtl="0">
              <a:defRPr sz="3128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263775" y="5587168"/>
            <a:ext cx="22298871" cy="10486809"/>
          </a:xfrm>
          <a:prstGeom prst="rect">
            <a:avLst/>
          </a:prstGeom>
        </p:spPr>
        <p:txBody>
          <a:bodyPr/>
          <a:lstStyle>
            <a:lvl1pPr rtl="0">
              <a:defRPr sz="14071" b="1">
                <a:solidFill>
                  <a:schemeClr val="bg1"/>
                </a:solidFill>
              </a:defRPr>
            </a:lvl1pPr>
            <a:lvl2pPr marL="837579" indent="-837579" rtl="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 marL="1582087" indent="-791042" rtl="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586736" indent="-795700" rtl="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1586736" indent="-795700" rtl="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89725578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33828" y="6031233"/>
            <a:ext cx="10419796" cy="3789415"/>
          </a:xfrm>
          <a:prstGeom prst="rect">
            <a:avLst/>
          </a:prstGeom>
        </p:spPr>
        <p:txBody>
          <a:bodyPr/>
          <a:lstStyle>
            <a:lvl1pPr>
              <a:defRPr sz="4107">
                <a:solidFill>
                  <a:schemeClr val="bg1">
                    <a:lumMod val="50000"/>
                  </a:schemeClr>
                </a:solidFill>
              </a:defRPr>
            </a:lvl1pPr>
            <a:lvl2pPr marL="837623" indent="-83762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2pPr>
            <a:lvl3pPr marL="1582166" indent="-79108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3pPr>
            <a:lvl4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4pPr>
            <a:lvl5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653614" y="6031233"/>
            <a:ext cx="10419793" cy="3789415"/>
          </a:xfrm>
          <a:prstGeom prst="rect">
            <a:avLst/>
          </a:prstGeom>
        </p:spPr>
        <p:txBody>
          <a:bodyPr/>
          <a:lstStyle>
            <a:lvl1pPr>
              <a:defRPr sz="4107">
                <a:solidFill>
                  <a:schemeClr val="bg1">
                    <a:lumMod val="50000"/>
                  </a:schemeClr>
                </a:solidFill>
              </a:defRPr>
            </a:lvl1pPr>
            <a:lvl2pPr marL="837623" indent="-83762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2pPr>
            <a:lvl3pPr marL="1582166" indent="-79108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3pPr>
            <a:lvl4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4pPr>
            <a:lvl5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263749" y="18362815"/>
            <a:ext cx="4428378" cy="481384"/>
          </a:xfrm>
          <a:prstGeom prst="rect">
            <a:avLst/>
          </a:prstGeom>
        </p:spPr>
        <p:txBody>
          <a:bodyPr/>
          <a:lstStyle>
            <a:lvl1pPr>
              <a:defRPr sz="3128">
                <a:solidFill>
                  <a:srgbClr val="461E7D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692140" y="18362815"/>
            <a:ext cx="24571914" cy="481384"/>
          </a:xfrm>
          <a:prstGeom prst="rect">
            <a:avLst/>
          </a:prstGeom>
        </p:spPr>
        <p:txBody>
          <a:bodyPr/>
          <a:lstStyle>
            <a:lvl1pPr>
              <a:defRPr sz="3128">
                <a:solidFill>
                  <a:srgbClr val="461E7D"/>
                </a:solidFill>
              </a:defRPr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31264054" y="18362815"/>
            <a:ext cx="2233811" cy="481384"/>
          </a:xfrm>
          <a:prstGeom prst="rect">
            <a:avLst/>
          </a:prstGeom>
        </p:spPr>
        <p:txBody>
          <a:bodyPr/>
          <a:lstStyle>
            <a:lvl1pPr>
              <a:defRPr sz="3128">
                <a:solidFill>
                  <a:srgbClr val="461E7D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23073407" y="6031233"/>
            <a:ext cx="10419793" cy="3789415"/>
          </a:xfrm>
          <a:prstGeom prst="rect">
            <a:avLst/>
          </a:prstGeom>
        </p:spPr>
        <p:txBody>
          <a:bodyPr/>
          <a:lstStyle>
            <a:lvl1pPr>
              <a:defRPr sz="4107">
                <a:solidFill>
                  <a:schemeClr val="bg1">
                    <a:lumMod val="50000"/>
                  </a:schemeClr>
                </a:solidFill>
              </a:defRPr>
            </a:lvl1pPr>
            <a:lvl2pPr marL="837623" indent="-83762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2pPr>
            <a:lvl3pPr marL="1582166" indent="-791083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3pPr>
            <a:lvl4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4pPr>
            <a:lvl5pPr marL="1586818" indent="-795735">
              <a:buFontTx/>
              <a:buBlip>
                <a:blip r:embed="rId2"/>
              </a:buBlip>
              <a:defRPr sz="4107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EFCAB5B-15CA-874F-A0A8-B3E34E577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3818" y="2530288"/>
            <a:ext cx="21828710" cy="3367991"/>
          </a:xfrm>
          <a:prstGeom prst="rect">
            <a:avLst/>
          </a:prstGeom>
        </p:spPr>
        <p:txBody>
          <a:bodyPr/>
          <a:lstStyle>
            <a:lvl1pPr>
              <a:defRPr sz="10943">
                <a:solidFill>
                  <a:srgbClr val="461E7D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6CABB432-F3F8-1446-8D95-B28C7EA9A3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33823" y="1549140"/>
            <a:ext cx="22391621" cy="959782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defRPr sz="4301">
                <a:solidFill>
                  <a:srgbClr val="461E7D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086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violet Diagonal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6212069"/>
            <a:ext cx="21604434" cy="134027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344" y="7883107"/>
            <a:ext cx="21604434" cy="1340276"/>
          </a:xfrm>
        </p:spPr>
        <p:txBody>
          <a:bodyPr/>
          <a:lstStyle>
            <a:lvl1pPr marL="0" indent="0" algn="l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6" name="Segnaposto immagine 15">
            <a:extLst>
              <a:ext uri="{FF2B5EF4-FFF2-40B4-BE49-F238E27FC236}">
                <a16:creationId xmlns:a16="http://schemas.microsoft.com/office/drawing/2014/main" id="{4B010B7F-2C9A-B140-8B0F-2E70755B78B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894936" y="0"/>
            <a:ext cx="23846052" cy="20104100"/>
          </a:xfrm>
          <a:custGeom>
            <a:avLst/>
            <a:gdLst>
              <a:gd name="connsiteX0" fmla="*/ 6836400 w 8134391"/>
              <a:gd name="connsiteY0" fmla="*/ 0 h 6858000"/>
              <a:gd name="connsiteX1" fmla="*/ 8134391 w 8134391"/>
              <a:gd name="connsiteY1" fmla="*/ 0 h 6858000"/>
              <a:gd name="connsiteX2" fmla="*/ 8134391 w 8134391"/>
              <a:gd name="connsiteY2" fmla="*/ 6858000 h 6858000"/>
              <a:gd name="connsiteX3" fmla="*/ 0 w 813439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4391" h="6858000">
                <a:moveTo>
                  <a:pt x="6836400" y="0"/>
                </a:moveTo>
                <a:lnTo>
                  <a:pt x="8134391" y="0"/>
                </a:lnTo>
                <a:lnTo>
                  <a:pt x="8134391" y="6858000"/>
                </a:lnTo>
                <a:lnTo>
                  <a:pt x="0" y="6858000"/>
                </a:lnTo>
                <a:close/>
              </a:path>
            </a:pathLst>
          </a:cu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noAutofit/>
          </a:bodyPr>
          <a:lstStyle/>
          <a:p>
            <a:r>
              <a:rPr lang="it-IT"/>
              <a:t>Fare clic sull'icona per inserire un'immagi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4" y="18098342"/>
            <a:ext cx="10783321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A54A7D7E-7CCD-4547-80AF-8D33321A54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964407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6126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>
            <a:extLst>
              <a:ext uri="{FF2B5EF4-FFF2-40B4-BE49-F238E27FC236}">
                <a16:creationId xmlns:a16="http://schemas.microsoft.com/office/drawing/2014/main" id="{C64FC465-36B3-FC4E-93B9-26C43926F56C}"/>
              </a:ext>
            </a:extLst>
          </p:cNvPr>
          <p:cNvSpPr/>
          <p:nvPr/>
        </p:nvSpPr>
        <p:spPr>
          <a:xfrm>
            <a:off x="0" y="0"/>
            <a:ext cx="35740975" cy="20104100"/>
          </a:xfrm>
          <a:prstGeom prst="rect">
            <a:avLst/>
          </a:prstGeom>
          <a:solidFill>
            <a:srgbClr val="461E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1422" tIns="140711" rIns="281422" bIns="140711" rtlCol="0" anchor="ctr"/>
          <a:lstStyle/>
          <a:p>
            <a:pPr algn="ctr"/>
            <a:endParaRPr lang="es-ES" sz="7818" err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33811" y="6026265"/>
            <a:ext cx="15636682" cy="12048820"/>
          </a:xfrm>
          <a:prstGeom prst="rect">
            <a:avLst/>
          </a:prstGeom>
        </p:spPr>
        <p:txBody>
          <a:bodyPr/>
          <a:lstStyle>
            <a:lvl1pPr>
              <a:defRPr sz="4107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70141" indent="-670141">
              <a:buFontTx/>
              <a:buBlip>
                <a:blip r:embed="rId2"/>
              </a:buBlip>
              <a:defRPr sz="4107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461230" indent="-670141">
              <a:buFontTx/>
              <a:buBlip>
                <a:blip r:embed="rId2"/>
              </a:buBlip>
              <a:defRPr sz="4107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230" indent="-670141">
              <a:buFontTx/>
              <a:buBlip>
                <a:blip r:embed="rId2"/>
              </a:buBlip>
              <a:defRPr sz="4107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461230" indent="-670141">
              <a:buFontTx/>
              <a:buBlip>
                <a:blip r:embed="rId2"/>
              </a:buBlip>
              <a:defRPr sz="4107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263749" y="18362815"/>
            <a:ext cx="4428378" cy="45112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128">
                <a:solidFill>
                  <a:schemeClr val="bg1"/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692140" y="18362815"/>
            <a:ext cx="24571914" cy="45112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128">
                <a:solidFill>
                  <a:schemeClr val="bg1"/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1264054" y="18362815"/>
            <a:ext cx="2233811" cy="451120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3128"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2DC5F0B9-D3B1-B94D-9DAE-00E0C90DF8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737" t="-8607" r="-1723" b="-22061"/>
          <a:stretch/>
        </p:blipFill>
        <p:spPr>
          <a:xfrm>
            <a:off x="24746373" y="1478931"/>
            <a:ext cx="9448583" cy="1973986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D48EFB5-0D63-B64C-9A38-32D996E17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3818" y="2530291"/>
            <a:ext cx="21828710" cy="3581414"/>
          </a:xfrm>
          <a:prstGeom prst="rect">
            <a:avLst/>
          </a:prstGeom>
        </p:spPr>
        <p:txBody>
          <a:bodyPr/>
          <a:lstStyle>
            <a:lvl1pPr>
              <a:defRPr sz="10943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E330B43-95B8-624D-8097-001A12759A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33823" y="1549140"/>
            <a:ext cx="22391621" cy="959782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defRPr sz="430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05768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3821" y="1964452"/>
            <a:ext cx="22328808" cy="1217283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endParaRPr lang="es-E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33821" y="3181730"/>
            <a:ext cx="22328808" cy="839090"/>
          </a:xfrm>
        </p:spPr>
        <p:txBody>
          <a:bodyPr rIns="0">
            <a:noAutofit/>
          </a:bodyPr>
          <a:lstStyle>
            <a:lvl1pPr>
              <a:defRPr sz="528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2233812" y="17264601"/>
            <a:ext cx="31264046" cy="810475"/>
          </a:xfrm>
        </p:spPr>
        <p:txBody>
          <a:bodyPr rIns="0" anchor="b">
            <a:noAutofit/>
          </a:bodyPr>
          <a:lstStyle>
            <a:lvl1pPr>
              <a:defRPr sz="5280" b="1" baseline="0"/>
            </a:lvl1pPr>
          </a:lstStyle>
          <a:p>
            <a:pPr lvl="0"/>
            <a:r>
              <a:rPr lang="en-GB"/>
              <a:t>Optional summary text placehol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8633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233811" y="3181738"/>
            <a:ext cx="24553311" cy="812017"/>
          </a:xfrm>
        </p:spPr>
        <p:txBody>
          <a:bodyPr rIns="0">
            <a:noAutofit/>
          </a:bodyPr>
          <a:lstStyle>
            <a:lvl1pPr>
              <a:defRPr sz="528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9" name="Marcador de número de diapositiva 5"/>
          <p:cNvSpPr txBox="1">
            <a:spLocks/>
          </p:cNvSpPr>
          <p:nvPr/>
        </p:nvSpPr>
        <p:spPr>
          <a:xfrm>
            <a:off x="33319160" y="19534900"/>
            <a:ext cx="2233811" cy="45112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ED2235E-0982-3B42-A838-A74550CD4449}" type="slidenum">
              <a:rPr lang="en-GB" sz="2934" smtClean="0">
                <a:solidFill>
                  <a:schemeClr val="tx1"/>
                </a:solidFill>
              </a:rPr>
              <a:pPr/>
              <a:t>‹Nº›</a:t>
            </a:fld>
            <a:endParaRPr lang="en-GB" sz="2934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7477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iolet 0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134027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344" y="2427274"/>
            <a:ext cx="27227869" cy="1340276"/>
          </a:xfrm>
        </p:spPr>
        <p:txBody>
          <a:bodyPr/>
          <a:lstStyle>
            <a:lvl1pPr marL="0" indent="0" algn="l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5" y="18098342"/>
            <a:ext cx="19434158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687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Violet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55342"/>
            <a:ext cx="25117181" cy="17457339"/>
          </a:xfrm>
        </p:spPr>
        <p:txBody>
          <a:bodyPr anchor="t"/>
          <a:lstStyle>
            <a:lvl1pPr algn="l">
              <a:defRPr sz="25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5" y="18098342"/>
            <a:ext cx="19434158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1102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violet Diagonal 0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6212069"/>
            <a:ext cx="21604434" cy="134027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344" y="7883107"/>
            <a:ext cx="21604434" cy="1340276"/>
          </a:xfrm>
        </p:spPr>
        <p:txBody>
          <a:bodyPr/>
          <a:lstStyle>
            <a:lvl1pPr marL="0" indent="0" algn="l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16" name="Segnaposto immagine 15">
            <a:extLst>
              <a:ext uri="{FF2B5EF4-FFF2-40B4-BE49-F238E27FC236}">
                <a16:creationId xmlns:a16="http://schemas.microsoft.com/office/drawing/2014/main" id="{4B010B7F-2C9A-B140-8B0F-2E70755B78B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894936" y="0"/>
            <a:ext cx="23846052" cy="20104100"/>
          </a:xfrm>
          <a:custGeom>
            <a:avLst/>
            <a:gdLst>
              <a:gd name="connsiteX0" fmla="*/ 6836400 w 8134391"/>
              <a:gd name="connsiteY0" fmla="*/ 0 h 6858000"/>
              <a:gd name="connsiteX1" fmla="*/ 8134391 w 8134391"/>
              <a:gd name="connsiteY1" fmla="*/ 0 h 6858000"/>
              <a:gd name="connsiteX2" fmla="*/ 8134391 w 8134391"/>
              <a:gd name="connsiteY2" fmla="*/ 6858000 h 6858000"/>
              <a:gd name="connsiteX3" fmla="*/ 0 w 813439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34391" h="6858000">
                <a:moveTo>
                  <a:pt x="6836400" y="0"/>
                </a:moveTo>
                <a:lnTo>
                  <a:pt x="8134391" y="0"/>
                </a:lnTo>
                <a:lnTo>
                  <a:pt x="8134391" y="6858000"/>
                </a:lnTo>
                <a:lnTo>
                  <a:pt x="0" y="6858000"/>
                </a:lnTo>
                <a:close/>
              </a:path>
            </a:pathLst>
          </a:cu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noAutofit/>
          </a:bodyPr>
          <a:lstStyle/>
          <a:p>
            <a:r>
              <a:rPr lang="it-IT"/>
              <a:t>Fare clic sull'icona per inserire un'immagi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4" y="18098342"/>
            <a:ext cx="10783321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" y="1204251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8485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Diagonal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53280"/>
            <a:ext cx="21604434" cy="12565537"/>
          </a:xfrm>
        </p:spPr>
        <p:txBody>
          <a:bodyPr anchor="t"/>
          <a:lstStyle>
            <a:lvl1pPr algn="l">
              <a:defRPr sz="25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testo 9">
            <a:extLst>
              <a:ext uri="{FF2B5EF4-FFF2-40B4-BE49-F238E27FC236}">
                <a16:creationId xmlns:a16="http://schemas.microsoft.com/office/drawing/2014/main" id="{79194262-3AF4-2A40-A6E1-5C984BA485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54" y="14229511"/>
            <a:ext cx="14969825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3" name="Segnaposto immagine 12">
            <a:extLst>
              <a:ext uri="{FF2B5EF4-FFF2-40B4-BE49-F238E27FC236}">
                <a16:creationId xmlns:a16="http://schemas.microsoft.com/office/drawing/2014/main" id="{4847A342-3071-8747-AFDD-24FACE609BA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891133" y="7"/>
            <a:ext cx="23849842" cy="20107902"/>
          </a:xfrm>
          <a:custGeom>
            <a:avLst/>
            <a:gdLst>
              <a:gd name="connsiteX0" fmla="*/ 6837693 w 8135684"/>
              <a:gd name="connsiteY0" fmla="*/ 0 h 6859297"/>
              <a:gd name="connsiteX1" fmla="*/ 8135684 w 8135684"/>
              <a:gd name="connsiteY1" fmla="*/ 0 h 6859297"/>
              <a:gd name="connsiteX2" fmla="*/ 8135684 w 8135684"/>
              <a:gd name="connsiteY2" fmla="*/ 6858000 h 6859297"/>
              <a:gd name="connsiteX3" fmla="*/ 7586334 w 8135684"/>
              <a:gd name="connsiteY3" fmla="*/ 6859297 h 6859297"/>
              <a:gd name="connsiteX4" fmla="*/ 0 w 8135684"/>
              <a:gd name="connsiteY4" fmla="*/ 6859297 h 6859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35684" h="6859297">
                <a:moveTo>
                  <a:pt x="6837693" y="0"/>
                </a:moveTo>
                <a:lnTo>
                  <a:pt x="8135684" y="0"/>
                </a:lnTo>
                <a:lnTo>
                  <a:pt x="8135684" y="6858000"/>
                </a:lnTo>
                <a:lnTo>
                  <a:pt x="7586334" y="6859297"/>
                </a:lnTo>
                <a:lnTo>
                  <a:pt x="0" y="6859297"/>
                </a:lnTo>
                <a:close/>
              </a:path>
            </a:pathLst>
          </a:cu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noAutofit/>
          </a:bodyPr>
          <a:lstStyle/>
          <a:p>
            <a:r>
              <a:rPr lang="it-IT"/>
              <a:t>Fare clic sull'icona per inserire un'immagi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354" y="17760277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734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X Violet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93715" y="8004816"/>
            <a:ext cx="21604434" cy="1340276"/>
          </a:xfrm>
        </p:spPr>
        <p:txBody>
          <a:bodyPr anchor="t"/>
          <a:lstStyle>
            <a:lvl1pPr algn="r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93715" y="9651661"/>
            <a:ext cx="21604434" cy="1340276"/>
          </a:xfrm>
        </p:spPr>
        <p:txBody>
          <a:bodyPr/>
          <a:lstStyle>
            <a:lvl1pPr marL="0" indent="0" algn="r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62B90481-F1C6-FB46-9B5A-2226355EA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35"/>
            <a:ext cx="14830561" cy="17711140"/>
          </a:xfrm>
          <a:prstGeom prst="rect">
            <a:avLst/>
          </a:prstGeom>
        </p:spPr>
      </p:pic>
      <p:sp>
        <p:nvSpPr>
          <p:cNvPr id="8" name="Segnaposto testo 9">
            <a:extLst>
              <a:ext uri="{FF2B5EF4-FFF2-40B4-BE49-F238E27FC236}">
                <a16:creationId xmlns:a16="http://schemas.microsoft.com/office/drawing/2014/main" id="{25A8B920-4140-3E4A-817C-036C6841B1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902310" y="18098342"/>
            <a:ext cx="10783321" cy="1070360"/>
          </a:xfrm>
        </p:spPr>
        <p:txBody>
          <a:bodyPr anchor="b"/>
          <a:lstStyle>
            <a:lvl1pPr marL="0" indent="0" algn="r">
              <a:buNone/>
              <a:defRPr sz="3518"/>
            </a:lvl1pPr>
            <a:lvl2pPr marL="0" indent="0" algn="r">
              <a:buNone/>
              <a:defRPr sz="3518"/>
            </a:lvl2pPr>
            <a:lvl3pPr marL="0" indent="0" algn="r">
              <a:buNone/>
              <a:defRPr sz="3518"/>
            </a:lvl3pPr>
            <a:lvl4pPr marL="0" indent="0" algn="r">
              <a:buNone/>
              <a:defRPr sz="3518"/>
            </a:lvl4pPr>
            <a:lvl5pPr marL="0" indent="0" algn="r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487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X Violet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93715" y="8004816"/>
            <a:ext cx="21604434" cy="1340276"/>
          </a:xfrm>
        </p:spPr>
        <p:txBody>
          <a:bodyPr anchor="t"/>
          <a:lstStyle>
            <a:lvl1pPr algn="r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93715" y="9656307"/>
            <a:ext cx="21604434" cy="1340276"/>
          </a:xfrm>
        </p:spPr>
        <p:txBody>
          <a:bodyPr/>
          <a:lstStyle>
            <a:lvl1pPr marL="0" indent="0" algn="r">
              <a:buNone/>
              <a:defRPr sz="7625"/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62B90481-F1C6-FB46-9B5A-2226355EA9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35"/>
            <a:ext cx="14830561" cy="17711140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42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X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93715" y="8004816"/>
            <a:ext cx="21604434" cy="1340276"/>
          </a:xfrm>
        </p:spPr>
        <p:txBody>
          <a:bodyPr anchor="t"/>
          <a:lstStyle>
            <a:lvl1pPr algn="r">
              <a:defRPr sz="8797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93715" y="9656307"/>
            <a:ext cx="21604434" cy="1340276"/>
          </a:xfrm>
        </p:spPr>
        <p:txBody>
          <a:bodyPr/>
          <a:lstStyle>
            <a:lvl1pPr marL="0" indent="0" algn="r">
              <a:buNone/>
              <a:defRPr sz="7625">
                <a:solidFill>
                  <a:schemeClr val="tx2"/>
                </a:solidFill>
              </a:defRPr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F84BE1EC-8B44-AA4B-AF0B-3784D1856A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" y="1447428"/>
            <a:ext cx="14830561" cy="17711143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01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205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Diagonal 03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253280"/>
            <a:ext cx="21604434" cy="12565537"/>
          </a:xfrm>
        </p:spPr>
        <p:txBody>
          <a:bodyPr anchor="t"/>
          <a:lstStyle>
            <a:lvl1pPr algn="l">
              <a:defRPr sz="25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testo 9">
            <a:extLst>
              <a:ext uri="{FF2B5EF4-FFF2-40B4-BE49-F238E27FC236}">
                <a16:creationId xmlns:a16="http://schemas.microsoft.com/office/drawing/2014/main" id="{79194262-3AF4-2A40-A6E1-5C984BA485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54" y="14229511"/>
            <a:ext cx="14969825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3" name="Segnaposto immagine 12">
            <a:extLst>
              <a:ext uri="{FF2B5EF4-FFF2-40B4-BE49-F238E27FC236}">
                <a16:creationId xmlns:a16="http://schemas.microsoft.com/office/drawing/2014/main" id="{4847A342-3071-8747-AFDD-24FACE609BA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891133" y="7"/>
            <a:ext cx="23849842" cy="20107902"/>
          </a:xfrm>
          <a:custGeom>
            <a:avLst/>
            <a:gdLst>
              <a:gd name="connsiteX0" fmla="*/ 6837693 w 8135684"/>
              <a:gd name="connsiteY0" fmla="*/ 0 h 6859297"/>
              <a:gd name="connsiteX1" fmla="*/ 8135684 w 8135684"/>
              <a:gd name="connsiteY1" fmla="*/ 0 h 6859297"/>
              <a:gd name="connsiteX2" fmla="*/ 8135684 w 8135684"/>
              <a:gd name="connsiteY2" fmla="*/ 6858000 h 6859297"/>
              <a:gd name="connsiteX3" fmla="*/ 7586334 w 8135684"/>
              <a:gd name="connsiteY3" fmla="*/ 6859297 h 6859297"/>
              <a:gd name="connsiteX4" fmla="*/ 0 w 8135684"/>
              <a:gd name="connsiteY4" fmla="*/ 6859297 h 6859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35684" h="6859297">
                <a:moveTo>
                  <a:pt x="6837693" y="0"/>
                </a:moveTo>
                <a:lnTo>
                  <a:pt x="8135684" y="0"/>
                </a:lnTo>
                <a:lnTo>
                  <a:pt x="8135684" y="6858000"/>
                </a:lnTo>
                <a:lnTo>
                  <a:pt x="7586334" y="6859297"/>
                </a:lnTo>
                <a:lnTo>
                  <a:pt x="0" y="6859297"/>
                </a:lnTo>
                <a:close/>
              </a:path>
            </a:pathLst>
          </a:cu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>
            <a:noAutofit/>
          </a:bodyPr>
          <a:lstStyle/>
          <a:p>
            <a:r>
              <a:rPr lang="it-IT"/>
              <a:t>Fare clic sull'icona per inserire un'immagine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BDDC77F5-0A62-E043-B6A6-98ED31B444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37" t="-8607" r="-1723" b="-22061"/>
          <a:stretch/>
        </p:blipFill>
        <p:spPr>
          <a:xfrm>
            <a:off x="1006606" y="17387109"/>
            <a:ext cx="8805914" cy="183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689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1340276"/>
          </a:xfrm>
        </p:spPr>
        <p:txBody>
          <a:bodyPr anchor="t"/>
          <a:lstStyle>
            <a:lvl1pPr algn="l">
              <a:defRPr sz="8797"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E1BC5D68-CD32-4B6C-823D-8C9CA85998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344" y="2432431"/>
            <a:ext cx="27227869" cy="1340276"/>
          </a:xfrm>
        </p:spPr>
        <p:txBody>
          <a:bodyPr/>
          <a:lstStyle>
            <a:lvl1pPr marL="0" indent="0" algn="l">
              <a:buNone/>
              <a:defRPr sz="7625">
                <a:solidFill>
                  <a:schemeClr val="tx2"/>
                </a:solidFill>
              </a:defRPr>
            </a:lvl1pPr>
            <a:lvl2pPr marL="1340314" indent="0" algn="ctr">
              <a:buNone/>
              <a:defRPr sz="5863"/>
            </a:lvl2pPr>
            <a:lvl3pPr marL="2680628" indent="0" algn="ctr">
              <a:buNone/>
              <a:defRPr sz="5280"/>
            </a:lvl3pPr>
            <a:lvl4pPr marL="4020948" indent="0" algn="ctr">
              <a:buNone/>
              <a:defRPr sz="4690"/>
            </a:lvl4pPr>
            <a:lvl5pPr marL="5361262" indent="0" algn="ctr">
              <a:buNone/>
              <a:defRPr sz="4690"/>
            </a:lvl5pPr>
            <a:lvl6pPr marL="6701576" indent="0" algn="ctr">
              <a:buNone/>
              <a:defRPr sz="4690"/>
            </a:lvl6pPr>
            <a:lvl7pPr marL="8041890" indent="0" algn="ctr">
              <a:buNone/>
              <a:defRPr sz="4690"/>
            </a:lvl7pPr>
            <a:lvl8pPr marL="9382210" indent="0" algn="ctr">
              <a:buNone/>
              <a:defRPr sz="4690"/>
            </a:lvl8pPr>
            <a:lvl9pPr marL="10722524" indent="0" algn="ctr">
              <a:buNone/>
              <a:defRPr sz="469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8" name="Immagine" descr="Immagine">
            <a:extLst>
              <a:ext uri="{FF2B5EF4-FFF2-40B4-BE49-F238E27FC236}">
                <a16:creationId xmlns:a16="http://schemas.microsoft.com/office/drawing/2014/main" id="{ABEE2049-09B6-4FF6-A0DC-BBDE87ADA9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64597" y="1092157"/>
            <a:ext cx="5333561" cy="1340276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66C51BD-7DFB-4260-B04B-BC46C5E447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5345" y="18098342"/>
            <a:ext cx="19434158" cy="1070360"/>
          </a:xfrm>
        </p:spPr>
        <p:txBody>
          <a:bodyPr anchor="b"/>
          <a:lstStyle>
            <a:lvl1pPr marL="0" indent="0">
              <a:buNone/>
              <a:defRPr sz="3518"/>
            </a:lvl1pPr>
            <a:lvl2pPr marL="0" indent="0">
              <a:buNone/>
              <a:defRPr sz="3518"/>
            </a:lvl2pPr>
            <a:lvl3pPr marL="0" indent="0">
              <a:buNone/>
              <a:defRPr sz="3518"/>
            </a:lvl3pPr>
            <a:lvl4pPr marL="0" indent="0">
              <a:buNone/>
              <a:defRPr sz="3518"/>
            </a:lvl4pPr>
            <a:lvl5pPr marL="0" indent="0">
              <a:buNone/>
              <a:defRPr sz="3518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723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60220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3" name="Segnaposto testo 11">
            <a:extLst>
              <a:ext uri="{FF2B5EF4-FFF2-40B4-BE49-F238E27FC236}">
                <a16:creationId xmlns:a16="http://schemas.microsoft.com/office/drawing/2014/main" id="{8D8B091B-0B26-2147-91E5-3A9673EA1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6412" y="4337427"/>
            <a:ext cx="33628162" cy="13877009"/>
          </a:xfrm>
        </p:spPr>
        <p:txBody>
          <a:bodyPr numCol="3" spcCol="72000"/>
          <a:lstStyle>
            <a:lvl1pPr marL="1005238" indent="-1005238">
              <a:buFont typeface="+mj-lt"/>
              <a:buAutoNum type="arabicPeriod"/>
              <a:defRPr sz="7036"/>
            </a:lvl1pPr>
            <a:lvl2pPr marL="1573008" indent="-539850">
              <a:tabLst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3490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Viole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54"/>
            <a:ext cx="27227869" cy="134027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613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agonal 01 + Conten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immagine 7">
            <a:extLst>
              <a:ext uri="{FF2B5EF4-FFF2-40B4-BE49-F238E27FC236}">
                <a16:creationId xmlns:a16="http://schemas.microsoft.com/office/drawing/2014/main" id="{AC0DBD78-CAF6-B04D-B91B-60847BFDC2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8216" y="7434348"/>
            <a:ext cx="35797407" cy="12669752"/>
          </a:xfrm>
          <a:custGeom>
            <a:avLst/>
            <a:gdLst>
              <a:gd name="connsiteX0" fmla="*/ 12211249 w 12211249"/>
              <a:gd name="connsiteY0" fmla="*/ 0 h 4321962"/>
              <a:gd name="connsiteX1" fmla="*/ 12201839 w 12211249"/>
              <a:gd name="connsiteY1" fmla="*/ 4321962 h 4321962"/>
              <a:gd name="connsiteX2" fmla="*/ 9370 w 12211249"/>
              <a:gd name="connsiteY2" fmla="*/ 4321962 h 4321962"/>
              <a:gd name="connsiteX3" fmla="*/ 8422 w 12211249"/>
              <a:gd name="connsiteY3" fmla="*/ 3956862 h 4321962"/>
              <a:gd name="connsiteX4" fmla="*/ 0 w 12211249"/>
              <a:gd name="connsiteY4" fmla="*/ 636471 h 4321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11249" h="4321962">
                <a:moveTo>
                  <a:pt x="12211249" y="0"/>
                </a:moveTo>
                <a:lnTo>
                  <a:pt x="12201839" y="4321962"/>
                </a:lnTo>
                <a:lnTo>
                  <a:pt x="9370" y="4321962"/>
                </a:lnTo>
                <a:lnTo>
                  <a:pt x="8422" y="3956862"/>
                </a:lnTo>
                <a:cubicBezTo>
                  <a:pt x="5615" y="2864650"/>
                  <a:pt x="2807" y="1706805"/>
                  <a:pt x="0" y="636471"/>
                </a:cubicBezTo>
                <a:close/>
              </a:path>
            </a:pathLst>
          </a:custGeom>
          <a:noFill/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noAutofit/>
          </a:bodyPr>
          <a:lstStyle/>
          <a:p>
            <a:r>
              <a:rPr lang="it-IT"/>
              <a:t>Fare clic sull'icona per inserire un'immagine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44" y="780947"/>
            <a:ext cx="27227869" cy="2610766"/>
          </a:xfrm>
        </p:spPr>
        <p:txBody>
          <a:bodyPr anchor="t"/>
          <a:lstStyle>
            <a:lvl1pPr algn="l">
              <a:defRPr sz="8797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8916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Big 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DB18916-A8E9-4E7C-8475-2215A02110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54" y="274625"/>
            <a:ext cx="27235013" cy="17457339"/>
          </a:xfrm>
        </p:spPr>
        <p:txBody>
          <a:bodyPr anchor="t"/>
          <a:lstStyle>
            <a:lvl1pPr algn="l">
              <a:defRPr sz="25214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77348A-C981-47FA-B9A8-9FB179471F4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26643912" y="18098350"/>
            <a:ext cx="8041719" cy="1070357"/>
          </a:xfrm>
        </p:spPr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2842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ighlight Viole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0135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13" name="Segnaposto testo 11">
            <a:extLst>
              <a:ext uri="{FF2B5EF4-FFF2-40B4-BE49-F238E27FC236}">
                <a16:creationId xmlns:a16="http://schemas.microsoft.com/office/drawing/2014/main" id="{8D8B091B-0B26-2147-91E5-3A9673EA1A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56414" y="4221341"/>
            <a:ext cx="27186728" cy="13877009"/>
          </a:xfrm>
        </p:spPr>
        <p:txBody>
          <a:bodyPr numCol="1" spcCol="72000"/>
          <a:lstStyle>
            <a:lvl1pPr marL="0" indent="0">
              <a:buFont typeface="Arial" panose="020B0604020202020204" pitchFamily="34" charset="0"/>
              <a:buNone/>
              <a:defRPr sz="10553"/>
            </a:lvl1pPr>
            <a:lvl2pPr marL="1033157" indent="0">
              <a:buNone/>
              <a:tabLst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055369" indent="0">
              <a:buNone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0" indent="0">
              <a:buNone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0" indent="0">
              <a:buNone/>
              <a:defRPr sz="10553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68245" y="1258176"/>
            <a:ext cx="8129914" cy="13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013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X interna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5"/>
            <a:ext cx="27187798" cy="260260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99C143-65AA-4D28-A4EC-5712101CF5F6}" type="slidenum">
              <a:rPr lang="it-IT" smtClean="0"/>
              <a:t>‹Nº›</a:t>
            </a:fld>
            <a:endParaRPr lang="it-IT"/>
          </a:p>
        </p:txBody>
      </p:sp>
      <p:sp>
        <p:nvSpPr>
          <p:cNvPr id="10" name="Segnaposto contenuto 3">
            <a:extLst>
              <a:ext uri="{FF2B5EF4-FFF2-40B4-BE49-F238E27FC236}">
                <a16:creationId xmlns:a16="http://schemas.microsoft.com/office/drawing/2014/main" id="{B5A9FB7F-541C-804B-B1A5-041A37C3222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056412" y="4337428"/>
            <a:ext cx="3362816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60594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51"/>
            <a:ext cx="27187798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4" y="4337428"/>
            <a:ext cx="27186728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9076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4" y="780945"/>
            <a:ext cx="27187798" cy="260260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2" y="4337428"/>
            <a:ext cx="33628162" cy="13877413"/>
          </a:xfrm>
        </p:spPr>
        <p:txBody>
          <a:bodyPr numCol="2" spcCol="7632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36937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xt + 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D525B674-5904-0E4E-A969-CBFC67619E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7870487" y="0"/>
            <a:ext cx="17870488" cy="20104100"/>
          </a:xfrm>
        </p:spPr>
        <p:txBody>
          <a:bodyPr tIns="147960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2B9F7227-E262-45EF-B7BD-4F635CAF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3" y="780951"/>
            <a:ext cx="15756282" cy="255606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A06E82E-FA9F-44E4-92E9-B9597CA6C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8B967BA3-8FC6-6D47-9A2A-ED56DA817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56414" y="4337428"/>
            <a:ext cx="15756282" cy="1387741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C0C8CC68-348E-410E-8316-E6518EF49E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326" y="1055340"/>
            <a:ext cx="7420312" cy="1223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966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26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63" Type="http://schemas.openxmlformats.org/officeDocument/2006/relationships/slideLayout" Target="../slideLayouts/slideLayout68.xml"/><Relationship Id="rId68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16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53" Type="http://schemas.openxmlformats.org/officeDocument/2006/relationships/slideLayout" Target="../slideLayouts/slideLayout58.xml"/><Relationship Id="rId58" Type="http://schemas.openxmlformats.org/officeDocument/2006/relationships/slideLayout" Target="../slideLayouts/slideLayout63.xml"/><Relationship Id="rId74" Type="http://schemas.openxmlformats.org/officeDocument/2006/relationships/slideLayout" Target="../slideLayouts/slideLayout79.xml"/><Relationship Id="rId79" Type="http://schemas.openxmlformats.org/officeDocument/2006/relationships/tags" Target="../tags/tag3.xml"/><Relationship Id="rId5" Type="http://schemas.openxmlformats.org/officeDocument/2006/relationships/slideLayout" Target="../slideLayouts/slideLayout10.xml"/><Relationship Id="rId61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slideLayout" Target="../slideLayouts/slideLayout61.xml"/><Relationship Id="rId64" Type="http://schemas.openxmlformats.org/officeDocument/2006/relationships/slideLayout" Target="../slideLayouts/slideLayout69.xml"/><Relationship Id="rId69" Type="http://schemas.openxmlformats.org/officeDocument/2006/relationships/slideLayout" Target="../slideLayouts/slideLayout74.xml"/><Relationship Id="rId77" Type="http://schemas.openxmlformats.org/officeDocument/2006/relationships/slideLayout" Target="../slideLayouts/slideLayout82.xml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72" Type="http://schemas.openxmlformats.org/officeDocument/2006/relationships/slideLayout" Target="../slideLayouts/slideLayout77.xml"/><Relationship Id="rId80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64.xml"/><Relationship Id="rId67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62" Type="http://schemas.openxmlformats.org/officeDocument/2006/relationships/slideLayout" Target="../slideLayouts/slideLayout67.xml"/><Relationship Id="rId70" Type="http://schemas.openxmlformats.org/officeDocument/2006/relationships/slideLayout" Target="../slideLayouts/slideLayout75.xml"/><Relationship Id="rId75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15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65.xml"/><Relationship Id="rId65" Type="http://schemas.openxmlformats.org/officeDocument/2006/relationships/slideLayout" Target="../slideLayouts/slideLayout70.xml"/><Relationship Id="rId73" Type="http://schemas.openxmlformats.org/officeDocument/2006/relationships/slideLayout" Target="../slideLayouts/slideLayout78.xml"/><Relationship Id="rId78" Type="http://schemas.openxmlformats.org/officeDocument/2006/relationships/theme" Target="../theme/theme2.xml"/><Relationship Id="rId81" Type="http://schemas.openxmlformats.org/officeDocument/2006/relationships/image" Target="../media/image2.emf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9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Relationship Id="rId76" Type="http://schemas.openxmlformats.org/officeDocument/2006/relationships/slideLayout" Target="../slideLayouts/slideLayout81.xml"/><Relationship Id="rId7" Type="http://schemas.openxmlformats.org/officeDocument/2006/relationships/slideLayout" Target="../slideLayouts/slideLayout12.xml"/><Relationship Id="rId7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.xml"/><Relationship Id="rId29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66" Type="http://schemas.openxmlformats.org/officeDocument/2006/relationships/slideLayout" Target="../slideLayouts/slideLayout71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03.xml"/><Relationship Id="rId42" Type="http://schemas.openxmlformats.org/officeDocument/2006/relationships/slideLayout" Target="../slideLayouts/slideLayout124.xml"/><Relationship Id="rId47" Type="http://schemas.openxmlformats.org/officeDocument/2006/relationships/slideLayout" Target="../slideLayouts/slideLayout129.xml"/><Relationship Id="rId63" Type="http://schemas.openxmlformats.org/officeDocument/2006/relationships/slideLayout" Target="../slideLayouts/slideLayout145.xml"/><Relationship Id="rId68" Type="http://schemas.openxmlformats.org/officeDocument/2006/relationships/slideLayout" Target="../slideLayouts/slideLayout150.xml"/><Relationship Id="rId1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93.xml"/><Relationship Id="rId24" Type="http://schemas.openxmlformats.org/officeDocument/2006/relationships/slideLayout" Target="../slideLayouts/slideLayout106.xml"/><Relationship Id="rId32" Type="http://schemas.openxmlformats.org/officeDocument/2006/relationships/slideLayout" Target="../slideLayouts/slideLayout114.xml"/><Relationship Id="rId37" Type="http://schemas.openxmlformats.org/officeDocument/2006/relationships/slideLayout" Target="../slideLayouts/slideLayout119.xml"/><Relationship Id="rId40" Type="http://schemas.openxmlformats.org/officeDocument/2006/relationships/slideLayout" Target="../slideLayouts/slideLayout122.xml"/><Relationship Id="rId45" Type="http://schemas.openxmlformats.org/officeDocument/2006/relationships/slideLayout" Target="../slideLayouts/slideLayout127.xml"/><Relationship Id="rId53" Type="http://schemas.openxmlformats.org/officeDocument/2006/relationships/slideLayout" Target="../slideLayouts/slideLayout135.xml"/><Relationship Id="rId58" Type="http://schemas.openxmlformats.org/officeDocument/2006/relationships/slideLayout" Target="../slideLayouts/slideLayout140.xml"/><Relationship Id="rId66" Type="http://schemas.openxmlformats.org/officeDocument/2006/relationships/slideLayout" Target="../slideLayouts/slideLayout148.xml"/><Relationship Id="rId74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87.xml"/><Relationship Id="rId61" Type="http://schemas.openxmlformats.org/officeDocument/2006/relationships/slideLayout" Target="../slideLayouts/slideLayout143.xml"/><Relationship Id="rId1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9.xml"/><Relationship Id="rId30" Type="http://schemas.openxmlformats.org/officeDocument/2006/relationships/slideLayout" Target="../slideLayouts/slideLayout112.xml"/><Relationship Id="rId35" Type="http://schemas.openxmlformats.org/officeDocument/2006/relationships/slideLayout" Target="../slideLayouts/slideLayout117.xml"/><Relationship Id="rId43" Type="http://schemas.openxmlformats.org/officeDocument/2006/relationships/slideLayout" Target="../slideLayouts/slideLayout125.xml"/><Relationship Id="rId48" Type="http://schemas.openxmlformats.org/officeDocument/2006/relationships/slideLayout" Target="../slideLayouts/slideLayout130.xml"/><Relationship Id="rId56" Type="http://schemas.openxmlformats.org/officeDocument/2006/relationships/slideLayout" Target="../slideLayouts/slideLayout138.xml"/><Relationship Id="rId64" Type="http://schemas.openxmlformats.org/officeDocument/2006/relationships/slideLayout" Target="../slideLayouts/slideLayout146.xml"/><Relationship Id="rId69" Type="http://schemas.openxmlformats.org/officeDocument/2006/relationships/slideLayout" Target="../slideLayouts/slideLayout151.xml"/><Relationship Id="rId77" Type="http://schemas.openxmlformats.org/officeDocument/2006/relationships/oleObject" Target="../embeddings/oleObject4.bin"/><Relationship Id="rId8" Type="http://schemas.openxmlformats.org/officeDocument/2006/relationships/slideLayout" Target="../slideLayouts/slideLayout90.xml"/><Relationship Id="rId51" Type="http://schemas.openxmlformats.org/officeDocument/2006/relationships/slideLayout" Target="../slideLayouts/slideLayout133.xml"/><Relationship Id="rId72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slideLayout" Target="../slideLayouts/slideLayout107.xml"/><Relationship Id="rId33" Type="http://schemas.openxmlformats.org/officeDocument/2006/relationships/slideLayout" Target="../slideLayouts/slideLayout115.xml"/><Relationship Id="rId38" Type="http://schemas.openxmlformats.org/officeDocument/2006/relationships/slideLayout" Target="../slideLayouts/slideLayout120.xml"/><Relationship Id="rId46" Type="http://schemas.openxmlformats.org/officeDocument/2006/relationships/slideLayout" Target="../slideLayouts/slideLayout128.xml"/><Relationship Id="rId59" Type="http://schemas.openxmlformats.org/officeDocument/2006/relationships/slideLayout" Target="../slideLayouts/slideLayout141.xml"/><Relationship Id="rId67" Type="http://schemas.openxmlformats.org/officeDocument/2006/relationships/slideLayout" Target="../slideLayouts/slideLayout149.xml"/><Relationship Id="rId20" Type="http://schemas.openxmlformats.org/officeDocument/2006/relationships/slideLayout" Target="../slideLayouts/slideLayout102.xml"/><Relationship Id="rId41" Type="http://schemas.openxmlformats.org/officeDocument/2006/relationships/slideLayout" Target="../slideLayouts/slideLayout123.xml"/><Relationship Id="rId54" Type="http://schemas.openxmlformats.org/officeDocument/2006/relationships/slideLayout" Target="../slideLayouts/slideLayout136.xml"/><Relationship Id="rId62" Type="http://schemas.openxmlformats.org/officeDocument/2006/relationships/slideLayout" Target="../slideLayouts/slideLayout144.xml"/><Relationship Id="rId70" Type="http://schemas.openxmlformats.org/officeDocument/2006/relationships/slideLayout" Target="../slideLayouts/slideLayout152.xml"/><Relationship Id="rId75" Type="http://schemas.openxmlformats.org/officeDocument/2006/relationships/theme" Target="../theme/theme3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slideLayout" Target="../slideLayouts/slideLayout110.xml"/><Relationship Id="rId36" Type="http://schemas.openxmlformats.org/officeDocument/2006/relationships/slideLayout" Target="../slideLayouts/slideLayout118.xml"/><Relationship Id="rId49" Type="http://schemas.openxmlformats.org/officeDocument/2006/relationships/slideLayout" Target="../slideLayouts/slideLayout131.xml"/><Relationship Id="rId57" Type="http://schemas.openxmlformats.org/officeDocument/2006/relationships/slideLayout" Target="../slideLayouts/slideLayout139.xml"/><Relationship Id="rId10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13.xml"/><Relationship Id="rId44" Type="http://schemas.openxmlformats.org/officeDocument/2006/relationships/slideLayout" Target="../slideLayouts/slideLayout126.xml"/><Relationship Id="rId52" Type="http://schemas.openxmlformats.org/officeDocument/2006/relationships/slideLayout" Target="../slideLayouts/slideLayout134.xml"/><Relationship Id="rId60" Type="http://schemas.openxmlformats.org/officeDocument/2006/relationships/slideLayout" Target="../slideLayouts/slideLayout142.xml"/><Relationship Id="rId65" Type="http://schemas.openxmlformats.org/officeDocument/2006/relationships/slideLayout" Target="../slideLayouts/slideLayout147.xml"/><Relationship Id="rId73" Type="http://schemas.openxmlformats.org/officeDocument/2006/relationships/slideLayout" Target="../slideLayouts/slideLayout155.xml"/><Relationship Id="rId78" Type="http://schemas.openxmlformats.org/officeDocument/2006/relationships/image" Target="../media/image14.emf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39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16.xml"/><Relationship Id="rId50" Type="http://schemas.openxmlformats.org/officeDocument/2006/relationships/slideLayout" Target="../slideLayouts/slideLayout132.xml"/><Relationship Id="rId55" Type="http://schemas.openxmlformats.org/officeDocument/2006/relationships/slideLayout" Target="../slideLayouts/slideLayout137.xml"/><Relationship Id="rId76" Type="http://schemas.openxmlformats.org/officeDocument/2006/relationships/tags" Target="../tags/tag5.xml"/><Relationship Id="rId7" Type="http://schemas.openxmlformats.org/officeDocument/2006/relationships/slideLayout" Target="../slideLayouts/slideLayout89.xml"/><Relationship Id="rId71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1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59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6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60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F04CE67D-CAD5-9BA8-74AA-8232A0AF4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3677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471" imgH="470" progId="TCLayout.ActiveDocument.1">
                  <p:embed/>
                </p:oleObj>
              </mc:Choice>
              <mc:Fallback>
                <p:oleObj name="Diapositiva de think-cell" r:id="rId8" imgW="471" imgH="47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F04CE67D-CAD5-9BA8-74AA-8232A0AF4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474956" y="2236326"/>
            <a:ext cx="20791066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20915" y="4988077"/>
            <a:ext cx="310991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2151932" y="18696817"/>
            <a:ext cx="114371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787050" y="18696817"/>
            <a:ext cx="822042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25733505" y="18696817"/>
            <a:ext cx="822042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79"/>
            </p:custDataLst>
            <p:extLst>
              <p:ext uri="{D42A27DB-BD31-4B8C-83A1-F6EECF244321}">
                <p14:modId xmlns:p14="http://schemas.microsoft.com/office/powerpoint/2010/main" val="3205834459"/>
              </p:ext>
            </p:extLst>
          </p:nvPr>
        </p:nvGraphicFramePr>
        <p:xfrm>
          <a:off x="4655" y="4655"/>
          <a:ext cx="4655" cy="4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0" imgW="471" imgH="472" progId="TCLayout.ActiveDocument.1">
                  <p:embed/>
                </p:oleObj>
              </mc:Choice>
              <mc:Fallback>
                <p:oleObj name="Diapositiva de think-cell" r:id="rId80" imgW="471" imgH="472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4655" y="4655"/>
                        <a:ext cx="4655" cy="4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9BB7A83A-B7A4-41FA-AB1C-43F41107B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3" y="785420"/>
            <a:ext cx="33633805" cy="316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E09A2C3-4F5F-411A-9F9A-B4A9384F73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344" y="4339157"/>
            <a:ext cx="33630288" cy="137720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1A8DF4C-70E1-41C4-B825-425AFD77F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45717" y="18098350"/>
            <a:ext cx="3539925" cy="107035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3518"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62904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04" r:id="rId37"/>
    <p:sldLayoutId id="2147483705" r:id="rId38"/>
    <p:sldLayoutId id="2147483706" r:id="rId39"/>
    <p:sldLayoutId id="2147483707" r:id="rId40"/>
    <p:sldLayoutId id="2147483708" r:id="rId41"/>
    <p:sldLayoutId id="2147483709" r:id="rId42"/>
    <p:sldLayoutId id="2147483710" r:id="rId43"/>
    <p:sldLayoutId id="2147483711" r:id="rId44"/>
    <p:sldLayoutId id="2147483712" r:id="rId45"/>
    <p:sldLayoutId id="2147483713" r:id="rId46"/>
    <p:sldLayoutId id="2147483714" r:id="rId47"/>
    <p:sldLayoutId id="2147483715" r:id="rId48"/>
    <p:sldLayoutId id="2147483716" r:id="rId49"/>
    <p:sldLayoutId id="2147483717" r:id="rId50"/>
    <p:sldLayoutId id="2147483718" r:id="rId51"/>
    <p:sldLayoutId id="2147483719" r:id="rId52"/>
    <p:sldLayoutId id="2147483720" r:id="rId53"/>
    <p:sldLayoutId id="2147483721" r:id="rId54"/>
    <p:sldLayoutId id="2147483722" r:id="rId55"/>
    <p:sldLayoutId id="2147483723" r:id="rId56"/>
    <p:sldLayoutId id="2147483724" r:id="rId57"/>
    <p:sldLayoutId id="2147483725" r:id="rId58"/>
    <p:sldLayoutId id="2147483726" r:id="rId59"/>
    <p:sldLayoutId id="2147483727" r:id="rId60"/>
    <p:sldLayoutId id="2147483728" r:id="rId61"/>
    <p:sldLayoutId id="2147483729" r:id="rId62"/>
    <p:sldLayoutId id="2147483730" r:id="rId63"/>
    <p:sldLayoutId id="2147483731" r:id="rId64"/>
    <p:sldLayoutId id="2147483732" r:id="rId65"/>
    <p:sldLayoutId id="2147483733" r:id="rId66"/>
    <p:sldLayoutId id="2147483734" r:id="rId67"/>
    <p:sldLayoutId id="2147483735" r:id="rId68"/>
    <p:sldLayoutId id="2147483736" r:id="rId69"/>
    <p:sldLayoutId id="2147483737" r:id="rId70"/>
    <p:sldLayoutId id="2147483738" r:id="rId71"/>
    <p:sldLayoutId id="2147483739" r:id="rId72"/>
    <p:sldLayoutId id="2147483740" r:id="rId73"/>
    <p:sldLayoutId id="2147483741" r:id="rId74"/>
    <p:sldLayoutId id="2147483742" r:id="rId75"/>
    <p:sldLayoutId id="2147483743" r:id="rId76"/>
    <p:sldLayoutId id="2147483744" r:id="rId77"/>
  </p:sldLayoutIdLst>
  <p:txStyles>
    <p:titleStyle>
      <a:lvl1pPr algn="l" defTabSz="2680628" rtl="0" eaLnBrk="1" latinLnBrk="0" hangingPunct="1">
        <a:lnSpc>
          <a:spcPct val="100000"/>
        </a:lnSpc>
        <a:spcBef>
          <a:spcPct val="0"/>
        </a:spcBef>
        <a:buNone/>
        <a:defRPr sz="879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27682" indent="-527682" algn="l" defTabSz="2680628" rtl="0" eaLnBrk="1" latinLnBrk="0" hangingPunct="1">
        <a:lnSpc>
          <a:spcPct val="100000"/>
        </a:lnSpc>
        <a:spcBef>
          <a:spcPts val="0"/>
        </a:spcBef>
        <a:buClrTx/>
        <a:buFont typeface="Avenir Book" panose="02000503020000020003" pitchFamily="2" charset="0"/>
        <a:buChar char="–"/>
        <a:defRPr sz="5280" kern="1200">
          <a:solidFill>
            <a:schemeClr val="tx1"/>
          </a:solidFill>
          <a:latin typeface="+mn-lt"/>
          <a:ea typeface="+mn-ea"/>
          <a:cs typeface="+mn-cs"/>
        </a:defRPr>
      </a:lvl1pPr>
      <a:lvl2pPr marL="1055369" indent="-527682" algn="l" defTabSz="2680628" rtl="0" eaLnBrk="1" latinLnBrk="0" hangingPunct="1">
        <a:lnSpc>
          <a:spcPct val="100000"/>
        </a:lnSpc>
        <a:spcBef>
          <a:spcPts val="0"/>
        </a:spcBef>
        <a:buClrTx/>
        <a:buFont typeface="Avenir Book" panose="02000503020000020003" pitchFamily="2" charset="0"/>
        <a:buChar char="–"/>
        <a:defRPr sz="3518" kern="1200">
          <a:solidFill>
            <a:schemeClr val="tx1"/>
          </a:solidFill>
          <a:latin typeface="+mn-lt"/>
          <a:ea typeface="+mn-ea"/>
          <a:cs typeface="+mn-cs"/>
        </a:defRPr>
      </a:lvl2pPr>
      <a:lvl3pPr marL="1583051" indent="-527682" algn="l" defTabSz="2680628" rtl="0" eaLnBrk="1" latinLnBrk="0" hangingPunct="1">
        <a:lnSpc>
          <a:spcPct val="100000"/>
        </a:lnSpc>
        <a:spcBef>
          <a:spcPts val="0"/>
        </a:spcBef>
        <a:buFont typeface="Avenir Book" panose="02000503020000020003" pitchFamily="2" charset="0"/>
        <a:buChar char="–"/>
        <a:defRPr sz="2934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-1055369" algn="l" defTabSz="2680628" rtl="0" eaLnBrk="1" latinLnBrk="0" hangingPunct="1">
        <a:lnSpc>
          <a:spcPct val="100000"/>
        </a:lnSpc>
        <a:spcBef>
          <a:spcPts val="0"/>
        </a:spcBef>
        <a:buFont typeface="Avenir Book" panose="02000503020000020003" pitchFamily="2" charset="0"/>
        <a:buChar char="–"/>
        <a:defRPr sz="7036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-1055369" algn="l" defTabSz="2680628" rtl="0" eaLnBrk="1" latinLnBrk="0" hangingPunct="1">
        <a:lnSpc>
          <a:spcPct val="100000"/>
        </a:lnSpc>
        <a:spcBef>
          <a:spcPts val="0"/>
        </a:spcBef>
        <a:buClrTx/>
        <a:buFont typeface="Avenir Book" panose="02000503020000020003" pitchFamily="2" charset="0"/>
        <a:buChar char="–"/>
        <a:defRPr sz="10553" kern="1200">
          <a:solidFill>
            <a:schemeClr val="tx1"/>
          </a:solidFill>
          <a:latin typeface="+mn-lt"/>
          <a:ea typeface="+mn-ea"/>
          <a:cs typeface="+mn-cs"/>
        </a:defRPr>
      </a:lvl5pPr>
      <a:lvl6pPr marL="7371738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6pPr>
      <a:lvl7pPr marL="8712052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7pPr>
      <a:lvl8pPr marL="10052366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8pPr>
      <a:lvl9pPr marL="11392680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1pPr>
      <a:lvl2pPr marL="1340314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2pPr>
      <a:lvl3pPr marL="2680628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3pPr>
      <a:lvl4pPr marL="4020948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4pPr>
      <a:lvl5pPr marL="5361262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5pPr>
      <a:lvl6pPr marL="6701576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6pPr>
      <a:lvl7pPr marL="8041890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7pPr>
      <a:lvl8pPr marL="9382210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8pPr>
      <a:lvl9pPr marL="10722524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2712744816"/>
              </p:ext>
            </p:extLst>
          </p:nvPr>
        </p:nvGraphicFramePr>
        <p:xfrm>
          <a:off x="4655" y="4655"/>
          <a:ext cx="4655" cy="4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7" imgW="381" imgH="381" progId="TCLayout.ActiveDocument.1">
                  <p:embed/>
                </p:oleObj>
              </mc:Choice>
              <mc:Fallback>
                <p:oleObj name="Diapositiva de think-cell" r:id="rId77" imgW="381" imgH="381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78"/>
                      <a:stretch>
                        <a:fillRect/>
                      </a:stretch>
                    </p:blipFill>
                    <p:spPr>
                      <a:xfrm>
                        <a:off x="4655" y="4655"/>
                        <a:ext cx="4655" cy="4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9BB7A83A-B7A4-41FA-AB1C-43F41107B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53" y="785420"/>
            <a:ext cx="33633805" cy="316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E09A2C3-4F5F-411A-9F9A-B4A9384F73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344" y="4339157"/>
            <a:ext cx="33630288" cy="1377209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1A8DF4C-70E1-41C4-B825-425AFD77F0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145717" y="18098350"/>
            <a:ext cx="3539925" cy="107035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3518"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932614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  <p:sldLayoutId id="2147483794" r:id="rId49"/>
    <p:sldLayoutId id="2147483795" r:id="rId50"/>
    <p:sldLayoutId id="2147483796" r:id="rId51"/>
    <p:sldLayoutId id="2147483797" r:id="rId52"/>
    <p:sldLayoutId id="2147483798" r:id="rId53"/>
    <p:sldLayoutId id="2147483799" r:id="rId54"/>
    <p:sldLayoutId id="2147483800" r:id="rId55"/>
    <p:sldLayoutId id="2147483801" r:id="rId56"/>
    <p:sldLayoutId id="2147483802" r:id="rId57"/>
    <p:sldLayoutId id="2147483803" r:id="rId58"/>
    <p:sldLayoutId id="2147483804" r:id="rId59"/>
    <p:sldLayoutId id="2147483805" r:id="rId60"/>
    <p:sldLayoutId id="2147483806" r:id="rId61"/>
    <p:sldLayoutId id="2147483807" r:id="rId62"/>
    <p:sldLayoutId id="2147483808" r:id="rId63"/>
    <p:sldLayoutId id="2147483809" r:id="rId64"/>
    <p:sldLayoutId id="2147483810" r:id="rId65"/>
    <p:sldLayoutId id="2147483811" r:id="rId66"/>
    <p:sldLayoutId id="2147483812" r:id="rId67"/>
    <p:sldLayoutId id="2147483813" r:id="rId68"/>
    <p:sldLayoutId id="2147483814" r:id="rId69"/>
    <p:sldLayoutId id="2147483815" r:id="rId70"/>
    <p:sldLayoutId id="2147483816" r:id="rId71"/>
    <p:sldLayoutId id="2147483817" r:id="rId72"/>
    <p:sldLayoutId id="2147483818" r:id="rId73"/>
    <p:sldLayoutId id="2147483819" r:id="rId74"/>
  </p:sldLayoutIdLst>
  <p:txStyles>
    <p:titleStyle>
      <a:lvl1pPr algn="l" defTabSz="2680628" rtl="0" eaLnBrk="1" latinLnBrk="0" hangingPunct="1">
        <a:lnSpc>
          <a:spcPct val="100000"/>
        </a:lnSpc>
        <a:spcBef>
          <a:spcPct val="0"/>
        </a:spcBef>
        <a:buNone/>
        <a:defRPr sz="879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27682" indent="-527682" algn="l" defTabSz="2680628" rtl="0" eaLnBrk="1" latinLnBrk="0" hangingPunct="1">
        <a:lnSpc>
          <a:spcPct val="100000"/>
        </a:lnSpc>
        <a:spcBef>
          <a:spcPts val="0"/>
        </a:spcBef>
        <a:buClrTx/>
        <a:buFont typeface="Avenir Book" panose="02000503020000020003" pitchFamily="2" charset="0"/>
        <a:buChar char="–"/>
        <a:defRPr sz="5280" kern="1200">
          <a:solidFill>
            <a:schemeClr val="tx1"/>
          </a:solidFill>
          <a:latin typeface="+mn-lt"/>
          <a:ea typeface="+mn-ea"/>
          <a:cs typeface="+mn-cs"/>
        </a:defRPr>
      </a:lvl1pPr>
      <a:lvl2pPr marL="1055369" indent="-527682" algn="l" defTabSz="2680628" rtl="0" eaLnBrk="1" latinLnBrk="0" hangingPunct="1">
        <a:lnSpc>
          <a:spcPct val="100000"/>
        </a:lnSpc>
        <a:spcBef>
          <a:spcPts val="0"/>
        </a:spcBef>
        <a:buClrTx/>
        <a:buFont typeface="Avenir Book" panose="02000503020000020003" pitchFamily="2" charset="0"/>
        <a:buChar char="–"/>
        <a:defRPr sz="3518" kern="1200">
          <a:solidFill>
            <a:schemeClr val="tx1"/>
          </a:solidFill>
          <a:latin typeface="+mn-lt"/>
          <a:ea typeface="+mn-ea"/>
          <a:cs typeface="+mn-cs"/>
        </a:defRPr>
      </a:lvl2pPr>
      <a:lvl3pPr marL="1583051" indent="-527682" algn="l" defTabSz="2680628" rtl="0" eaLnBrk="1" latinLnBrk="0" hangingPunct="1">
        <a:lnSpc>
          <a:spcPct val="100000"/>
        </a:lnSpc>
        <a:spcBef>
          <a:spcPts val="0"/>
        </a:spcBef>
        <a:buFont typeface="Avenir Book" panose="02000503020000020003" pitchFamily="2" charset="0"/>
        <a:buChar char="–"/>
        <a:defRPr sz="2934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-1055369" algn="l" defTabSz="2680628" rtl="0" eaLnBrk="1" latinLnBrk="0" hangingPunct="1">
        <a:lnSpc>
          <a:spcPct val="100000"/>
        </a:lnSpc>
        <a:spcBef>
          <a:spcPts val="0"/>
        </a:spcBef>
        <a:buFont typeface="Avenir Book" panose="02000503020000020003" pitchFamily="2" charset="0"/>
        <a:buChar char="–"/>
        <a:defRPr sz="7036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-1055369" algn="l" defTabSz="2680628" rtl="0" eaLnBrk="1" latinLnBrk="0" hangingPunct="1">
        <a:lnSpc>
          <a:spcPct val="100000"/>
        </a:lnSpc>
        <a:spcBef>
          <a:spcPts val="0"/>
        </a:spcBef>
        <a:buClrTx/>
        <a:buFont typeface="Avenir Book" panose="02000503020000020003" pitchFamily="2" charset="0"/>
        <a:buChar char="–"/>
        <a:defRPr sz="10553" kern="1200">
          <a:solidFill>
            <a:schemeClr val="tx1"/>
          </a:solidFill>
          <a:latin typeface="+mn-lt"/>
          <a:ea typeface="+mn-ea"/>
          <a:cs typeface="+mn-cs"/>
        </a:defRPr>
      </a:lvl5pPr>
      <a:lvl6pPr marL="7371738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6pPr>
      <a:lvl7pPr marL="8712052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7pPr>
      <a:lvl8pPr marL="10052366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8pPr>
      <a:lvl9pPr marL="11392680" indent="-670161" algn="l" defTabSz="2680628" rtl="0" eaLnBrk="1" latinLnBrk="0" hangingPunct="1">
        <a:lnSpc>
          <a:spcPct val="90000"/>
        </a:lnSpc>
        <a:spcBef>
          <a:spcPts val="1466"/>
        </a:spcBef>
        <a:buFont typeface="Arial" panose="020B0604020202020204" pitchFamily="34" charset="0"/>
        <a:buChar char="•"/>
        <a:defRPr sz="5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1pPr>
      <a:lvl2pPr marL="1340314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2pPr>
      <a:lvl3pPr marL="2680628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3pPr>
      <a:lvl4pPr marL="4020948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4pPr>
      <a:lvl5pPr marL="5361262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5pPr>
      <a:lvl6pPr marL="6701576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6pPr>
      <a:lvl7pPr marL="8041890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7pPr>
      <a:lvl8pPr marL="9382210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8pPr>
      <a:lvl9pPr marL="10722524" algn="l" defTabSz="2680628" rtl="0" eaLnBrk="1" latinLnBrk="0" hangingPunct="1">
        <a:defRPr sz="52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F4414BA-71E4-9BFB-BFD3-F05DA05A98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61437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9" imgW="471" imgH="470" progId="TCLayout.ActiveDocument.1">
                  <p:embed/>
                </p:oleObj>
              </mc:Choice>
              <mc:Fallback>
                <p:oleObj name="Diapositiva de think-cell" r:id="rId9" imgW="471" imgH="470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3F4414BA-71E4-9BFB-BFD3-F05DA05A98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474957" y="2236324"/>
            <a:ext cx="20791066" cy="8156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300" b="1" i="0">
                <a:solidFill>
                  <a:srgbClr val="E94E0F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320917" y="4988079"/>
            <a:ext cx="3109914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2151932" y="18696821"/>
            <a:ext cx="1143711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787049" y="18696821"/>
            <a:ext cx="822042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t>6/1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25733505" y="18696821"/>
            <a:ext cx="822042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46649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70">
        <a:defRPr>
          <a:latin typeface="+mn-lt"/>
          <a:ea typeface="+mn-ea"/>
          <a:cs typeface="+mn-cs"/>
        </a:defRPr>
      </a:lvl2pPr>
      <a:lvl3pPr marL="914341">
        <a:defRPr>
          <a:latin typeface="+mn-lt"/>
          <a:ea typeface="+mn-ea"/>
          <a:cs typeface="+mn-cs"/>
        </a:defRPr>
      </a:lvl3pPr>
      <a:lvl4pPr marL="1371511">
        <a:defRPr>
          <a:latin typeface="+mn-lt"/>
          <a:ea typeface="+mn-ea"/>
          <a:cs typeface="+mn-cs"/>
        </a:defRPr>
      </a:lvl4pPr>
      <a:lvl5pPr marL="1828681">
        <a:defRPr>
          <a:latin typeface="+mn-lt"/>
          <a:ea typeface="+mn-ea"/>
          <a:cs typeface="+mn-cs"/>
        </a:defRPr>
      </a:lvl5pPr>
      <a:lvl6pPr marL="2285852">
        <a:defRPr>
          <a:latin typeface="+mn-lt"/>
          <a:ea typeface="+mn-ea"/>
          <a:cs typeface="+mn-cs"/>
        </a:defRPr>
      </a:lvl6pPr>
      <a:lvl7pPr marL="2743022">
        <a:defRPr>
          <a:latin typeface="+mn-lt"/>
          <a:ea typeface="+mn-ea"/>
          <a:cs typeface="+mn-cs"/>
        </a:defRPr>
      </a:lvl7pPr>
      <a:lvl8pPr marL="3200190">
        <a:defRPr>
          <a:latin typeface="+mn-lt"/>
          <a:ea typeface="+mn-ea"/>
          <a:cs typeface="+mn-cs"/>
        </a:defRPr>
      </a:lvl8pPr>
      <a:lvl9pPr marL="365736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0">
        <a:defRPr>
          <a:latin typeface="+mn-lt"/>
          <a:ea typeface="+mn-ea"/>
          <a:cs typeface="+mn-cs"/>
        </a:defRPr>
      </a:lvl2pPr>
      <a:lvl3pPr marL="914341">
        <a:defRPr>
          <a:latin typeface="+mn-lt"/>
          <a:ea typeface="+mn-ea"/>
          <a:cs typeface="+mn-cs"/>
        </a:defRPr>
      </a:lvl3pPr>
      <a:lvl4pPr marL="1371511">
        <a:defRPr>
          <a:latin typeface="+mn-lt"/>
          <a:ea typeface="+mn-ea"/>
          <a:cs typeface="+mn-cs"/>
        </a:defRPr>
      </a:lvl4pPr>
      <a:lvl5pPr marL="1828681">
        <a:defRPr>
          <a:latin typeface="+mn-lt"/>
          <a:ea typeface="+mn-ea"/>
          <a:cs typeface="+mn-cs"/>
        </a:defRPr>
      </a:lvl5pPr>
      <a:lvl6pPr marL="2285852">
        <a:defRPr>
          <a:latin typeface="+mn-lt"/>
          <a:ea typeface="+mn-ea"/>
          <a:cs typeface="+mn-cs"/>
        </a:defRPr>
      </a:lvl6pPr>
      <a:lvl7pPr marL="2743022">
        <a:defRPr>
          <a:latin typeface="+mn-lt"/>
          <a:ea typeface="+mn-ea"/>
          <a:cs typeface="+mn-cs"/>
        </a:defRPr>
      </a:lvl7pPr>
      <a:lvl8pPr marL="3200190">
        <a:defRPr>
          <a:latin typeface="+mn-lt"/>
          <a:ea typeface="+mn-ea"/>
          <a:cs typeface="+mn-cs"/>
        </a:defRPr>
      </a:lvl8pPr>
      <a:lvl9pPr marL="365736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26" Type="http://schemas.openxmlformats.org/officeDocument/2006/relationships/image" Target="../media/image39.svg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34.png"/><Relationship Id="rId7" Type="http://schemas.openxmlformats.org/officeDocument/2006/relationships/image" Target="../media/image14.emf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tags" Target="../tags/tag7.xml"/><Relationship Id="rId16" Type="http://schemas.openxmlformats.org/officeDocument/2006/relationships/image" Target="../media/image29.png"/><Relationship Id="rId20" Type="http://schemas.openxmlformats.org/officeDocument/2006/relationships/image" Target="../media/image33.svg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5" Type="http://schemas.openxmlformats.org/officeDocument/2006/relationships/image" Target="../media/image21.jpeg"/><Relationship Id="rId15" Type="http://schemas.openxmlformats.org/officeDocument/2006/relationships/image" Target="../media/image28.png"/><Relationship Id="rId23" Type="http://schemas.openxmlformats.org/officeDocument/2006/relationships/image" Target="../media/image36.svg"/><Relationship Id="rId28" Type="http://schemas.microsoft.com/office/2007/relationships/hdphoto" Target="../media/hdphoto1.wdp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18" Type="http://schemas.openxmlformats.org/officeDocument/2006/relationships/image" Target="../media/image53.png"/><Relationship Id="rId3" Type="http://schemas.openxmlformats.org/officeDocument/2006/relationships/slideLayout" Target="../slideLayouts/slideLayout96.xml"/><Relationship Id="rId7" Type="http://schemas.openxmlformats.org/officeDocument/2006/relationships/image" Target="../media/image42.png"/><Relationship Id="rId12" Type="http://schemas.openxmlformats.org/officeDocument/2006/relationships/image" Target="../media/image47.png"/><Relationship Id="rId17" Type="http://schemas.openxmlformats.org/officeDocument/2006/relationships/image" Target="../media/image52.svg"/><Relationship Id="rId2" Type="http://schemas.openxmlformats.org/officeDocument/2006/relationships/tags" Target="../tags/tag8.xml"/><Relationship Id="rId16" Type="http://schemas.openxmlformats.org/officeDocument/2006/relationships/image" Target="../media/image51.png"/><Relationship Id="rId20" Type="http://schemas.openxmlformats.org/officeDocument/2006/relationships/image" Target="../media/image55.png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41.emf"/><Relationship Id="rId11" Type="http://schemas.openxmlformats.org/officeDocument/2006/relationships/image" Target="../media/image46.sv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50.svg"/><Relationship Id="rId10" Type="http://schemas.openxmlformats.org/officeDocument/2006/relationships/image" Target="../media/image45.png"/><Relationship Id="rId19" Type="http://schemas.openxmlformats.org/officeDocument/2006/relationships/image" Target="../media/image54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4.svg"/><Relationship Id="rId1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svg"/><Relationship Id="rId18" Type="http://schemas.openxmlformats.org/officeDocument/2006/relationships/image" Target="../media/image68.pn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71.svg"/><Relationship Id="rId7" Type="http://schemas.openxmlformats.org/officeDocument/2006/relationships/image" Target="../media/image57.svg"/><Relationship Id="rId12" Type="http://schemas.openxmlformats.org/officeDocument/2006/relationships/image" Target="../media/image62.png"/><Relationship Id="rId17" Type="http://schemas.openxmlformats.org/officeDocument/2006/relationships/image" Target="../media/image67.svg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66.png"/><Relationship Id="rId20" Type="http://schemas.openxmlformats.org/officeDocument/2006/relationships/image" Target="../media/image70.png"/><Relationship Id="rId1" Type="http://schemas.openxmlformats.org/officeDocument/2006/relationships/tags" Target="../tags/tag9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24" Type="http://schemas.openxmlformats.org/officeDocument/2006/relationships/image" Target="../media/image73.svg"/><Relationship Id="rId5" Type="http://schemas.openxmlformats.org/officeDocument/2006/relationships/image" Target="../media/image41.emf"/><Relationship Id="rId15" Type="http://schemas.openxmlformats.org/officeDocument/2006/relationships/image" Target="../media/image65.svg"/><Relationship Id="rId23" Type="http://schemas.openxmlformats.org/officeDocument/2006/relationships/image" Target="../media/image72.png"/><Relationship Id="rId10" Type="http://schemas.openxmlformats.org/officeDocument/2006/relationships/image" Target="../media/image60.png"/><Relationship Id="rId19" Type="http://schemas.openxmlformats.org/officeDocument/2006/relationships/image" Target="../media/image69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59.svg"/><Relationship Id="rId14" Type="http://schemas.openxmlformats.org/officeDocument/2006/relationships/image" Target="../media/image64.png"/><Relationship Id="rId22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svg"/><Relationship Id="rId3" Type="http://schemas.openxmlformats.org/officeDocument/2006/relationships/slideLayout" Target="../slideLayouts/slideLayout158.xml"/><Relationship Id="rId7" Type="http://schemas.openxmlformats.org/officeDocument/2006/relationships/image" Target="../media/image75.jpeg"/><Relationship Id="rId12" Type="http://schemas.openxmlformats.org/officeDocument/2006/relationships/image" Target="../media/image80.png"/><Relationship Id="rId2" Type="http://schemas.openxmlformats.org/officeDocument/2006/relationships/tags" Target="../tags/tag10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74.emf"/><Relationship Id="rId11" Type="http://schemas.openxmlformats.org/officeDocument/2006/relationships/image" Target="../media/image79.sv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83.svg"/><Relationship Id="rId10" Type="http://schemas.openxmlformats.org/officeDocument/2006/relationships/image" Target="../media/image7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77.svg"/><Relationship Id="rId14" Type="http://schemas.openxmlformats.org/officeDocument/2006/relationships/image" Target="../media/image8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hyperlink" Target="http://www.endesax.com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Un conjunto de árboles&#10;&#10;Descripción generada automáticamente con confianza baja">
            <a:extLst>
              <a:ext uri="{FF2B5EF4-FFF2-40B4-BE49-F238E27FC236}">
                <a16:creationId xmlns:a16="http://schemas.microsoft.com/office/drawing/2014/main" id="{32F4D716-9990-4569-8A3B-C91489A962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51087" y="12700"/>
            <a:ext cx="26424186" cy="20104100"/>
          </a:xfrm>
          <a:prstGeom prst="parallelogram">
            <a:avLst>
              <a:gd name="adj" fmla="val 20976"/>
            </a:avLst>
          </a:prstGeom>
        </p:spPr>
      </p:pic>
      <p:sp>
        <p:nvSpPr>
          <p:cNvPr id="10" name="bg object 21">
            <a:extLst>
              <a:ext uri="{FF2B5EF4-FFF2-40B4-BE49-F238E27FC236}">
                <a16:creationId xmlns:a16="http://schemas.microsoft.com/office/drawing/2014/main" id="{92659B9E-0854-484C-A0D0-D6AB9051BFC2}"/>
              </a:ext>
            </a:extLst>
          </p:cNvPr>
          <p:cNvSpPr/>
          <p:nvPr/>
        </p:nvSpPr>
        <p:spPr>
          <a:xfrm>
            <a:off x="1976436" y="17748250"/>
            <a:ext cx="6922134" cy="1153160"/>
          </a:xfrm>
          <a:custGeom>
            <a:avLst/>
            <a:gdLst/>
            <a:ahLst/>
            <a:cxnLst/>
            <a:rect l="l" t="t" r="r" b="b"/>
            <a:pathLst>
              <a:path w="6922134" h="1153160">
                <a:moveTo>
                  <a:pt x="845985" y="631863"/>
                </a:moveTo>
                <a:lnTo>
                  <a:pt x="835507" y="586574"/>
                </a:lnTo>
                <a:lnTo>
                  <a:pt x="820331" y="543280"/>
                </a:lnTo>
                <a:lnTo>
                  <a:pt x="800735" y="502259"/>
                </a:lnTo>
                <a:lnTo>
                  <a:pt x="777024" y="463778"/>
                </a:lnTo>
                <a:lnTo>
                  <a:pt x="749465" y="428155"/>
                </a:lnTo>
                <a:lnTo>
                  <a:pt x="718375" y="395655"/>
                </a:lnTo>
                <a:lnTo>
                  <a:pt x="684022" y="366560"/>
                </a:lnTo>
                <a:lnTo>
                  <a:pt x="646696" y="341172"/>
                </a:lnTo>
                <a:lnTo>
                  <a:pt x="606704" y="319747"/>
                </a:lnTo>
                <a:lnTo>
                  <a:pt x="564311" y="302590"/>
                </a:lnTo>
                <a:lnTo>
                  <a:pt x="519823" y="289991"/>
                </a:lnTo>
                <a:lnTo>
                  <a:pt x="473532" y="282219"/>
                </a:lnTo>
                <a:lnTo>
                  <a:pt x="425716" y="279565"/>
                </a:lnTo>
                <a:lnTo>
                  <a:pt x="379336" y="282067"/>
                </a:lnTo>
                <a:lnTo>
                  <a:pt x="334391" y="289382"/>
                </a:lnTo>
                <a:lnTo>
                  <a:pt x="291160" y="301269"/>
                </a:lnTo>
                <a:lnTo>
                  <a:pt x="249897" y="317461"/>
                </a:lnTo>
                <a:lnTo>
                  <a:pt x="210858" y="337693"/>
                </a:lnTo>
                <a:lnTo>
                  <a:pt x="174294" y="361708"/>
                </a:lnTo>
                <a:lnTo>
                  <a:pt x="140487" y="389242"/>
                </a:lnTo>
                <a:lnTo>
                  <a:pt x="109677" y="420052"/>
                </a:lnTo>
                <a:lnTo>
                  <a:pt x="82143" y="453859"/>
                </a:lnTo>
                <a:lnTo>
                  <a:pt x="58127" y="490410"/>
                </a:lnTo>
                <a:lnTo>
                  <a:pt x="37896" y="529450"/>
                </a:lnTo>
                <a:lnTo>
                  <a:pt x="21704" y="570725"/>
                </a:lnTo>
                <a:lnTo>
                  <a:pt x="9817" y="613956"/>
                </a:lnTo>
                <a:lnTo>
                  <a:pt x="2501" y="658888"/>
                </a:lnTo>
                <a:lnTo>
                  <a:pt x="0" y="705281"/>
                </a:lnTo>
                <a:lnTo>
                  <a:pt x="2501" y="751662"/>
                </a:lnTo>
                <a:lnTo>
                  <a:pt x="9817" y="796607"/>
                </a:lnTo>
                <a:lnTo>
                  <a:pt x="21704" y="839838"/>
                </a:lnTo>
                <a:lnTo>
                  <a:pt x="37896" y="881100"/>
                </a:lnTo>
                <a:lnTo>
                  <a:pt x="58127" y="920153"/>
                </a:lnTo>
                <a:lnTo>
                  <a:pt x="82143" y="956703"/>
                </a:lnTo>
                <a:lnTo>
                  <a:pt x="109677" y="990511"/>
                </a:lnTo>
                <a:lnTo>
                  <a:pt x="140487" y="1021321"/>
                </a:lnTo>
                <a:lnTo>
                  <a:pt x="174294" y="1048854"/>
                </a:lnTo>
                <a:lnTo>
                  <a:pt x="210858" y="1072870"/>
                </a:lnTo>
                <a:lnTo>
                  <a:pt x="249897" y="1093101"/>
                </a:lnTo>
                <a:lnTo>
                  <a:pt x="291160" y="1109294"/>
                </a:lnTo>
                <a:lnTo>
                  <a:pt x="334391" y="1121181"/>
                </a:lnTo>
                <a:lnTo>
                  <a:pt x="379336" y="1128496"/>
                </a:lnTo>
                <a:lnTo>
                  <a:pt x="425716" y="1130998"/>
                </a:lnTo>
                <a:lnTo>
                  <a:pt x="476542" y="1127988"/>
                </a:lnTo>
                <a:lnTo>
                  <a:pt x="525589" y="1119212"/>
                </a:lnTo>
                <a:lnTo>
                  <a:pt x="572528" y="1105001"/>
                </a:lnTo>
                <a:lnTo>
                  <a:pt x="617004" y="1085697"/>
                </a:lnTo>
                <a:lnTo>
                  <a:pt x="658685" y="1061656"/>
                </a:lnTo>
                <a:lnTo>
                  <a:pt x="697217" y="1033208"/>
                </a:lnTo>
                <a:lnTo>
                  <a:pt x="732256" y="1000696"/>
                </a:lnTo>
                <a:lnTo>
                  <a:pt x="763473" y="964463"/>
                </a:lnTo>
                <a:lnTo>
                  <a:pt x="662673" y="887107"/>
                </a:lnTo>
                <a:lnTo>
                  <a:pt x="632866" y="920432"/>
                </a:lnTo>
                <a:lnTo>
                  <a:pt x="598424" y="948969"/>
                </a:lnTo>
                <a:lnTo>
                  <a:pt x="559917" y="972159"/>
                </a:lnTo>
                <a:lnTo>
                  <a:pt x="517918" y="989431"/>
                </a:lnTo>
                <a:lnTo>
                  <a:pt x="472998" y="1000213"/>
                </a:lnTo>
                <a:lnTo>
                  <a:pt x="425716" y="1003935"/>
                </a:lnTo>
                <a:lnTo>
                  <a:pt x="377266" y="1000023"/>
                </a:lnTo>
                <a:lnTo>
                  <a:pt x="331317" y="988707"/>
                </a:lnTo>
                <a:lnTo>
                  <a:pt x="288467" y="970597"/>
                </a:lnTo>
                <a:lnTo>
                  <a:pt x="249339" y="946315"/>
                </a:lnTo>
                <a:lnTo>
                  <a:pt x="214528" y="916457"/>
                </a:lnTo>
                <a:lnTo>
                  <a:pt x="184683" y="881659"/>
                </a:lnTo>
                <a:lnTo>
                  <a:pt x="160401" y="842530"/>
                </a:lnTo>
                <a:lnTo>
                  <a:pt x="142290" y="799680"/>
                </a:lnTo>
                <a:lnTo>
                  <a:pt x="130962" y="753719"/>
                </a:lnTo>
                <a:lnTo>
                  <a:pt x="127063" y="705281"/>
                </a:lnTo>
                <a:lnTo>
                  <a:pt x="130962" y="656831"/>
                </a:lnTo>
                <a:lnTo>
                  <a:pt x="142290" y="610882"/>
                </a:lnTo>
                <a:lnTo>
                  <a:pt x="160401" y="568032"/>
                </a:lnTo>
                <a:lnTo>
                  <a:pt x="184683" y="528891"/>
                </a:lnTo>
                <a:lnTo>
                  <a:pt x="214528" y="494093"/>
                </a:lnTo>
                <a:lnTo>
                  <a:pt x="249339" y="464235"/>
                </a:lnTo>
                <a:lnTo>
                  <a:pt x="288467" y="439953"/>
                </a:lnTo>
                <a:lnTo>
                  <a:pt x="331317" y="421843"/>
                </a:lnTo>
                <a:lnTo>
                  <a:pt x="377266" y="410527"/>
                </a:lnTo>
                <a:lnTo>
                  <a:pt x="425716" y="406615"/>
                </a:lnTo>
                <a:lnTo>
                  <a:pt x="476935" y="410984"/>
                </a:lnTo>
                <a:lnTo>
                  <a:pt x="525399" y="423608"/>
                </a:lnTo>
                <a:lnTo>
                  <a:pt x="570344" y="443750"/>
                </a:lnTo>
                <a:lnTo>
                  <a:pt x="611022" y="470687"/>
                </a:lnTo>
                <a:lnTo>
                  <a:pt x="646696" y="503707"/>
                </a:lnTo>
                <a:lnTo>
                  <a:pt x="676605" y="542048"/>
                </a:lnTo>
                <a:lnTo>
                  <a:pt x="699998" y="585012"/>
                </a:lnTo>
                <a:lnTo>
                  <a:pt x="716153" y="631863"/>
                </a:lnTo>
                <a:lnTo>
                  <a:pt x="401294" y="631863"/>
                </a:lnTo>
                <a:lnTo>
                  <a:pt x="401294" y="758913"/>
                </a:lnTo>
                <a:lnTo>
                  <a:pt x="845985" y="758913"/>
                </a:lnTo>
                <a:lnTo>
                  <a:pt x="845985" y="631863"/>
                </a:lnTo>
                <a:close/>
              </a:path>
              <a:path w="6922134" h="1153160">
                <a:moveTo>
                  <a:pt x="1736051" y="631583"/>
                </a:moveTo>
                <a:lnTo>
                  <a:pt x="1732813" y="583387"/>
                </a:lnTo>
                <a:lnTo>
                  <a:pt x="1723390" y="537298"/>
                </a:lnTo>
                <a:lnTo>
                  <a:pt x="1708213" y="493712"/>
                </a:lnTo>
                <a:lnTo>
                  <a:pt x="1687703" y="453021"/>
                </a:lnTo>
                <a:lnTo>
                  <a:pt x="1662290" y="415645"/>
                </a:lnTo>
                <a:lnTo>
                  <a:pt x="1632394" y="381952"/>
                </a:lnTo>
                <a:lnTo>
                  <a:pt x="1598460" y="352361"/>
                </a:lnTo>
                <a:lnTo>
                  <a:pt x="1560906" y="327253"/>
                </a:lnTo>
                <a:lnTo>
                  <a:pt x="1520151" y="307035"/>
                </a:lnTo>
                <a:lnTo>
                  <a:pt x="1476629" y="292112"/>
                </a:lnTo>
                <a:lnTo>
                  <a:pt x="1430769" y="282854"/>
                </a:lnTo>
                <a:lnTo>
                  <a:pt x="1382991" y="279692"/>
                </a:lnTo>
                <a:lnTo>
                  <a:pt x="1328674" y="283298"/>
                </a:lnTo>
                <a:lnTo>
                  <a:pt x="1276629" y="293827"/>
                </a:lnTo>
                <a:lnTo>
                  <a:pt x="1227315" y="310794"/>
                </a:lnTo>
                <a:lnTo>
                  <a:pt x="1181163" y="333730"/>
                </a:lnTo>
                <a:lnTo>
                  <a:pt x="1138605" y="362191"/>
                </a:lnTo>
                <a:lnTo>
                  <a:pt x="1100086" y="395693"/>
                </a:lnTo>
                <a:lnTo>
                  <a:pt x="1100086" y="314223"/>
                </a:lnTo>
                <a:lnTo>
                  <a:pt x="973035" y="314223"/>
                </a:lnTo>
                <a:lnTo>
                  <a:pt x="973035" y="758913"/>
                </a:lnTo>
                <a:lnTo>
                  <a:pt x="1100086" y="758913"/>
                </a:lnTo>
                <a:lnTo>
                  <a:pt x="1100086" y="653681"/>
                </a:lnTo>
                <a:lnTo>
                  <a:pt x="1109129" y="618350"/>
                </a:lnTo>
                <a:lnTo>
                  <a:pt x="1123543" y="581380"/>
                </a:lnTo>
                <a:lnTo>
                  <a:pt x="1143419" y="544322"/>
                </a:lnTo>
                <a:lnTo>
                  <a:pt x="1168869" y="508723"/>
                </a:lnTo>
                <a:lnTo>
                  <a:pt x="1199972" y="476135"/>
                </a:lnTo>
                <a:lnTo>
                  <a:pt x="1236827" y="448094"/>
                </a:lnTo>
                <a:lnTo>
                  <a:pt x="1279537" y="426161"/>
                </a:lnTo>
                <a:lnTo>
                  <a:pt x="1328191" y="411861"/>
                </a:lnTo>
                <a:lnTo>
                  <a:pt x="1382877" y="406742"/>
                </a:lnTo>
                <a:lnTo>
                  <a:pt x="1428254" y="411200"/>
                </a:lnTo>
                <a:lnTo>
                  <a:pt x="1470596" y="424053"/>
                </a:lnTo>
                <a:lnTo>
                  <a:pt x="1509001" y="444461"/>
                </a:lnTo>
                <a:lnTo>
                  <a:pt x="1542503" y="471627"/>
                </a:lnTo>
                <a:lnTo>
                  <a:pt x="1570189" y="504736"/>
                </a:lnTo>
                <a:lnTo>
                  <a:pt x="1591119" y="542963"/>
                </a:lnTo>
                <a:lnTo>
                  <a:pt x="1604365" y="585520"/>
                </a:lnTo>
                <a:lnTo>
                  <a:pt x="1608988" y="631583"/>
                </a:lnTo>
                <a:lnTo>
                  <a:pt x="1608988" y="1118082"/>
                </a:lnTo>
                <a:lnTo>
                  <a:pt x="1736051" y="1118082"/>
                </a:lnTo>
                <a:lnTo>
                  <a:pt x="1736051" y="631583"/>
                </a:lnTo>
                <a:close/>
              </a:path>
              <a:path w="6922134" h="1153160">
                <a:moveTo>
                  <a:pt x="2712847" y="0"/>
                </a:moveTo>
                <a:lnTo>
                  <a:pt x="2585796" y="0"/>
                </a:lnTo>
                <a:lnTo>
                  <a:pt x="2585796" y="400329"/>
                </a:lnTo>
                <a:lnTo>
                  <a:pt x="2551265" y="370116"/>
                </a:lnTo>
                <a:lnTo>
                  <a:pt x="2513584" y="343712"/>
                </a:lnTo>
                <a:lnTo>
                  <a:pt x="2473083" y="321437"/>
                </a:lnTo>
                <a:lnTo>
                  <a:pt x="2430056" y="303568"/>
                </a:lnTo>
                <a:lnTo>
                  <a:pt x="2384806" y="290436"/>
                </a:lnTo>
                <a:lnTo>
                  <a:pt x="2337625" y="282333"/>
                </a:lnTo>
                <a:lnTo>
                  <a:pt x="2288819" y="279565"/>
                </a:lnTo>
                <a:lnTo>
                  <a:pt x="2242439" y="282054"/>
                </a:lnTo>
                <a:lnTo>
                  <a:pt x="2197493" y="289382"/>
                </a:lnTo>
                <a:lnTo>
                  <a:pt x="2154263" y="301269"/>
                </a:lnTo>
                <a:lnTo>
                  <a:pt x="2113000" y="317449"/>
                </a:lnTo>
                <a:lnTo>
                  <a:pt x="2073960" y="337680"/>
                </a:lnTo>
                <a:lnTo>
                  <a:pt x="2037397" y="361696"/>
                </a:lnTo>
                <a:lnTo>
                  <a:pt x="2003590" y="389242"/>
                </a:lnTo>
                <a:lnTo>
                  <a:pt x="1972779" y="420039"/>
                </a:lnTo>
                <a:lnTo>
                  <a:pt x="1945246" y="453859"/>
                </a:lnTo>
                <a:lnTo>
                  <a:pt x="1921230" y="490410"/>
                </a:lnTo>
                <a:lnTo>
                  <a:pt x="1900986" y="529450"/>
                </a:lnTo>
                <a:lnTo>
                  <a:pt x="1884807" y="570712"/>
                </a:lnTo>
                <a:lnTo>
                  <a:pt x="1872919" y="613943"/>
                </a:lnTo>
                <a:lnTo>
                  <a:pt x="1865591" y="658888"/>
                </a:lnTo>
                <a:lnTo>
                  <a:pt x="1863102" y="705281"/>
                </a:lnTo>
                <a:lnTo>
                  <a:pt x="1865591" y="751662"/>
                </a:lnTo>
                <a:lnTo>
                  <a:pt x="1872919" y="796607"/>
                </a:lnTo>
                <a:lnTo>
                  <a:pt x="1884807" y="839838"/>
                </a:lnTo>
                <a:lnTo>
                  <a:pt x="1900986" y="881100"/>
                </a:lnTo>
                <a:lnTo>
                  <a:pt x="1921230" y="920140"/>
                </a:lnTo>
                <a:lnTo>
                  <a:pt x="1945246" y="956703"/>
                </a:lnTo>
                <a:lnTo>
                  <a:pt x="1972779" y="990511"/>
                </a:lnTo>
                <a:lnTo>
                  <a:pt x="2003590" y="1021308"/>
                </a:lnTo>
                <a:lnTo>
                  <a:pt x="2037397" y="1048854"/>
                </a:lnTo>
                <a:lnTo>
                  <a:pt x="2073960" y="1072870"/>
                </a:lnTo>
                <a:lnTo>
                  <a:pt x="2113000" y="1093101"/>
                </a:lnTo>
                <a:lnTo>
                  <a:pt x="2154263" y="1109281"/>
                </a:lnTo>
                <a:lnTo>
                  <a:pt x="2197493" y="1121168"/>
                </a:lnTo>
                <a:lnTo>
                  <a:pt x="2242439" y="1128496"/>
                </a:lnTo>
                <a:lnTo>
                  <a:pt x="2288819" y="1130985"/>
                </a:lnTo>
                <a:lnTo>
                  <a:pt x="2340622" y="1127874"/>
                </a:lnTo>
                <a:lnTo>
                  <a:pt x="2390571" y="1118755"/>
                </a:lnTo>
                <a:lnTo>
                  <a:pt x="2438311" y="1103998"/>
                </a:lnTo>
                <a:lnTo>
                  <a:pt x="2483472" y="1083983"/>
                </a:lnTo>
                <a:lnTo>
                  <a:pt x="2525699" y="1059053"/>
                </a:lnTo>
                <a:lnTo>
                  <a:pt x="2454999" y="953465"/>
                </a:lnTo>
                <a:lnTo>
                  <a:pt x="2417648" y="974801"/>
                </a:lnTo>
                <a:lnTo>
                  <a:pt x="2377160" y="990663"/>
                </a:lnTo>
                <a:lnTo>
                  <a:pt x="2334056" y="1000544"/>
                </a:lnTo>
                <a:lnTo>
                  <a:pt x="2288819" y="1003947"/>
                </a:lnTo>
                <a:lnTo>
                  <a:pt x="2240381" y="1000036"/>
                </a:lnTo>
                <a:lnTo>
                  <a:pt x="2194420" y="988720"/>
                </a:lnTo>
                <a:lnTo>
                  <a:pt x="2151570" y="970610"/>
                </a:lnTo>
                <a:lnTo>
                  <a:pt x="2112429" y="946315"/>
                </a:lnTo>
                <a:lnTo>
                  <a:pt x="2077631" y="916470"/>
                </a:lnTo>
                <a:lnTo>
                  <a:pt x="2047786" y="881672"/>
                </a:lnTo>
                <a:lnTo>
                  <a:pt x="2023491" y="842530"/>
                </a:lnTo>
                <a:lnTo>
                  <a:pt x="2005380" y="799680"/>
                </a:lnTo>
                <a:lnTo>
                  <a:pt x="1994065" y="753719"/>
                </a:lnTo>
                <a:lnTo>
                  <a:pt x="1990153" y="705281"/>
                </a:lnTo>
                <a:lnTo>
                  <a:pt x="1994065" y="656831"/>
                </a:lnTo>
                <a:lnTo>
                  <a:pt x="2005380" y="610882"/>
                </a:lnTo>
                <a:lnTo>
                  <a:pt x="2023491" y="568020"/>
                </a:lnTo>
                <a:lnTo>
                  <a:pt x="2047786" y="528891"/>
                </a:lnTo>
                <a:lnTo>
                  <a:pt x="2077631" y="494093"/>
                </a:lnTo>
                <a:lnTo>
                  <a:pt x="2112429" y="464248"/>
                </a:lnTo>
                <a:lnTo>
                  <a:pt x="2151570" y="439953"/>
                </a:lnTo>
                <a:lnTo>
                  <a:pt x="2194420" y="421843"/>
                </a:lnTo>
                <a:lnTo>
                  <a:pt x="2240381" y="410527"/>
                </a:lnTo>
                <a:lnTo>
                  <a:pt x="2288819" y="406615"/>
                </a:lnTo>
                <a:lnTo>
                  <a:pt x="2339111" y="410832"/>
                </a:lnTo>
                <a:lnTo>
                  <a:pt x="2386685" y="423024"/>
                </a:lnTo>
                <a:lnTo>
                  <a:pt x="2430856" y="442493"/>
                </a:lnTo>
                <a:lnTo>
                  <a:pt x="2470937" y="468553"/>
                </a:lnTo>
                <a:lnTo>
                  <a:pt x="2506230" y="500519"/>
                </a:lnTo>
                <a:lnTo>
                  <a:pt x="2536050" y="537692"/>
                </a:lnTo>
                <a:lnTo>
                  <a:pt x="2559710" y="579386"/>
                </a:lnTo>
                <a:lnTo>
                  <a:pt x="2576525" y="624928"/>
                </a:lnTo>
                <a:lnTo>
                  <a:pt x="2585796" y="673608"/>
                </a:lnTo>
                <a:lnTo>
                  <a:pt x="2585796" y="1118069"/>
                </a:lnTo>
                <a:lnTo>
                  <a:pt x="2712847" y="1118069"/>
                </a:lnTo>
                <a:lnTo>
                  <a:pt x="2712847" y="0"/>
                </a:lnTo>
                <a:close/>
              </a:path>
              <a:path w="6922134" h="1153160">
                <a:moveTo>
                  <a:pt x="3685883" y="631863"/>
                </a:moveTo>
                <a:lnTo>
                  <a:pt x="3675418" y="586574"/>
                </a:lnTo>
                <a:lnTo>
                  <a:pt x="3660229" y="543280"/>
                </a:lnTo>
                <a:lnTo>
                  <a:pt x="3640645" y="502259"/>
                </a:lnTo>
                <a:lnTo>
                  <a:pt x="3616922" y="463778"/>
                </a:lnTo>
                <a:lnTo>
                  <a:pt x="3589375" y="428155"/>
                </a:lnTo>
                <a:lnTo>
                  <a:pt x="3558273" y="395655"/>
                </a:lnTo>
                <a:lnTo>
                  <a:pt x="3523919" y="366560"/>
                </a:lnTo>
                <a:lnTo>
                  <a:pt x="3486607" y="341172"/>
                </a:lnTo>
                <a:lnTo>
                  <a:pt x="3446602" y="319747"/>
                </a:lnTo>
                <a:lnTo>
                  <a:pt x="3404222" y="302590"/>
                </a:lnTo>
                <a:lnTo>
                  <a:pt x="3359734" y="289991"/>
                </a:lnTo>
                <a:lnTo>
                  <a:pt x="3313442" y="282219"/>
                </a:lnTo>
                <a:lnTo>
                  <a:pt x="3265627" y="279565"/>
                </a:lnTo>
                <a:lnTo>
                  <a:pt x="3219234" y="282067"/>
                </a:lnTo>
                <a:lnTo>
                  <a:pt x="3174301" y="289382"/>
                </a:lnTo>
                <a:lnTo>
                  <a:pt x="3131058" y="301269"/>
                </a:lnTo>
                <a:lnTo>
                  <a:pt x="3089795" y="317461"/>
                </a:lnTo>
                <a:lnTo>
                  <a:pt x="3050756" y="337693"/>
                </a:lnTo>
                <a:lnTo>
                  <a:pt x="3014205" y="361708"/>
                </a:lnTo>
                <a:lnTo>
                  <a:pt x="2980385" y="389242"/>
                </a:lnTo>
                <a:lnTo>
                  <a:pt x="2949587" y="420052"/>
                </a:lnTo>
                <a:lnTo>
                  <a:pt x="2922041" y="453859"/>
                </a:lnTo>
                <a:lnTo>
                  <a:pt x="2898025" y="490410"/>
                </a:lnTo>
                <a:lnTo>
                  <a:pt x="2877794" y="529450"/>
                </a:lnTo>
                <a:lnTo>
                  <a:pt x="2861614" y="570725"/>
                </a:lnTo>
                <a:lnTo>
                  <a:pt x="2849727" y="613956"/>
                </a:lnTo>
                <a:lnTo>
                  <a:pt x="2842399" y="658888"/>
                </a:lnTo>
                <a:lnTo>
                  <a:pt x="2839910" y="705281"/>
                </a:lnTo>
                <a:lnTo>
                  <a:pt x="2842399" y="751662"/>
                </a:lnTo>
                <a:lnTo>
                  <a:pt x="2849727" y="796607"/>
                </a:lnTo>
                <a:lnTo>
                  <a:pt x="2861614" y="839838"/>
                </a:lnTo>
                <a:lnTo>
                  <a:pt x="2877794" y="881100"/>
                </a:lnTo>
                <a:lnTo>
                  <a:pt x="2898025" y="920153"/>
                </a:lnTo>
                <a:lnTo>
                  <a:pt x="2922041" y="956703"/>
                </a:lnTo>
                <a:lnTo>
                  <a:pt x="2949587" y="990511"/>
                </a:lnTo>
                <a:lnTo>
                  <a:pt x="2980385" y="1021321"/>
                </a:lnTo>
                <a:lnTo>
                  <a:pt x="3014205" y="1048854"/>
                </a:lnTo>
                <a:lnTo>
                  <a:pt x="3050756" y="1072870"/>
                </a:lnTo>
                <a:lnTo>
                  <a:pt x="3089795" y="1093101"/>
                </a:lnTo>
                <a:lnTo>
                  <a:pt x="3131058" y="1109294"/>
                </a:lnTo>
                <a:lnTo>
                  <a:pt x="3174301" y="1121181"/>
                </a:lnTo>
                <a:lnTo>
                  <a:pt x="3219234" y="1128496"/>
                </a:lnTo>
                <a:lnTo>
                  <a:pt x="3265627" y="1130998"/>
                </a:lnTo>
                <a:lnTo>
                  <a:pt x="3316440" y="1127988"/>
                </a:lnTo>
                <a:lnTo>
                  <a:pt x="3365500" y="1119212"/>
                </a:lnTo>
                <a:lnTo>
                  <a:pt x="3412426" y="1105001"/>
                </a:lnTo>
                <a:lnTo>
                  <a:pt x="3456902" y="1085697"/>
                </a:lnTo>
                <a:lnTo>
                  <a:pt x="3498583" y="1061656"/>
                </a:lnTo>
                <a:lnTo>
                  <a:pt x="3537115" y="1033208"/>
                </a:lnTo>
                <a:lnTo>
                  <a:pt x="3572167" y="1000696"/>
                </a:lnTo>
                <a:lnTo>
                  <a:pt x="3603383" y="964463"/>
                </a:lnTo>
                <a:lnTo>
                  <a:pt x="3502583" y="887107"/>
                </a:lnTo>
                <a:lnTo>
                  <a:pt x="3472764" y="920432"/>
                </a:lnTo>
                <a:lnTo>
                  <a:pt x="3438321" y="948969"/>
                </a:lnTo>
                <a:lnTo>
                  <a:pt x="3399815" y="972159"/>
                </a:lnTo>
                <a:lnTo>
                  <a:pt x="3357816" y="989431"/>
                </a:lnTo>
                <a:lnTo>
                  <a:pt x="3312896" y="1000213"/>
                </a:lnTo>
                <a:lnTo>
                  <a:pt x="3265627" y="1003935"/>
                </a:lnTo>
                <a:lnTo>
                  <a:pt x="3217176" y="1000023"/>
                </a:lnTo>
                <a:lnTo>
                  <a:pt x="3171228" y="988707"/>
                </a:lnTo>
                <a:lnTo>
                  <a:pt x="3128365" y="970597"/>
                </a:lnTo>
                <a:lnTo>
                  <a:pt x="3089237" y="946315"/>
                </a:lnTo>
                <a:lnTo>
                  <a:pt x="3054439" y="916457"/>
                </a:lnTo>
                <a:lnTo>
                  <a:pt x="3024581" y="881659"/>
                </a:lnTo>
                <a:lnTo>
                  <a:pt x="3000298" y="842530"/>
                </a:lnTo>
                <a:lnTo>
                  <a:pt x="2982176" y="799680"/>
                </a:lnTo>
                <a:lnTo>
                  <a:pt x="2970860" y="753719"/>
                </a:lnTo>
                <a:lnTo>
                  <a:pt x="2966961" y="705281"/>
                </a:lnTo>
                <a:lnTo>
                  <a:pt x="2970860" y="656831"/>
                </a:lnTo>
                <a:lnTo>
                  <a:pt x="2982176" y="610882"/>
                </a:lnTo>
                <a:lnTo>
                  <a:pt x="3000298" y="568032"/>
                </a:lnTo>
                <a:lnTo>
                  <a:pt x="3024581" y="528891"/>
                </a:lnTo>
                <a:lnTo>
                  <a:pt x="3054439" y="494093"/>
                </a:lnTo>
                <a:lnTo>
                  <a:pt x="3089237" y="464235"/>
                </a:lnTo>
                <a:lnTo>
                  <a:pt x="3128365" y="439953"/>
                </a:lnTo>
                <a:lnTo>
                  <a:pt x="3171228" y="421843"/>
                </a:lnTo>
                <a:lnTo>
                  <a:pt x="3217176" y="410527"/>
                </a:lnTo>
                <a:lnTo>
                  <a:pt x="3265627" y="406615"/>
                </a:lnTo>
                <a:lnTo>
                  <a:pt x="3316846" y="410984"/>
                </a:lnTo>
                <a:lnTo>
                  <a:pt x="3365296" y="423608"/>
                </a:lnTo>
                <a:lnTo>
                  <a:pt x="3410242" y="443750"/>
                </a:lnTo>
                <a:lnTo>
                  <a:pt x="3450920" y="470687"/>
                </a:lnTo>
                <a:lnTo>
                  <a:pt x="3486594" y="503707"/>
                </a:lnTo>
                <a:lnTo>
                  <a:pt x="3516503" y="542048"/>
                </a:lnTo>
                <a:lnTo>
                  <a:pt x="3539896" y="585012"/>
                </a:lnTo>
                <a:lnTo>
                  <a:pt x="3556050" y="631863"/>
                </a:lnTo>
                <a:lnTo>
                  <a:pt x="3241192" y="631863"/>
                </a:lnTo>
                <a:lnTo>
                  <a:pt x="3241192" y="758913"/>
                </a:lnTo>
                <a:lnTo>
                  <a:pt x="3685883" y="758913"/>
                </a:lnTo>
                <a:lnTo>
                  <a:pt x="3685883" y="631863"/>
                </a:lnTo>
                <a:close/>
              </a:path>
              <a:path w="6922134" h="1153160">
                <a:moveTo>
                  <a:pt x="4434929" y="820381"/>
                </a:moveTo>
                <a:lnTo>
                  <a:pt x="4432147" y="770496"/>
                </a:lnTo>
                <a:lnTo>
                  <a:pt x="3939159" y="565873"/>
                </a:lnTo>
                <a:lnTo>
                  <a:pt x="3950297" y="528053"/>
                </a:lnTo>
                <a:lnTo>
                  <a:pt x="3970921" y="491274"/>
                </a:lnTo>
                <a:lnTo>
                  <a:pt x="3999484" y="458139"/>
                </a:lnTo>
                <a:lnTo>
                  <a:pt x="4034472" y="431253"/>
                </a:lnTo>
                <a:lnTo>
                  <a:pt x="4074376" y="413207"/>
                </a:lnTo>
                <a:lnTo>
                  <a:pt x="4117657" y="406615"/>
                </a:lnTo>
                <a:lnTo>
                  <a:pt x="4216603" y="429564"/>
                </a:lnTo>
                <a:lnTo>
                  <a:pt x="4271696" y="480047"/>
                </a:lnTo>
                <a:lnTo>
                  <a:pt x="4295533" y="530542"/>
                </a:lnTo>
                <a:lnTo>
                  <a:pt x="4300690" y="553478"/>
                </a:lnTo>
                <a:lnTo>
                  <a:pt x="4427867" y="521970"/>
                </a:lnTo>
                <a:lnTo>
                  <a:pt x="4399178" y="381825"/>
                </a:lnTo>
                <a:lnTo>
                  <a:pt x="4357052" y="309867"/>
                </a:lnTo>
                <a:lnTo>
                  <a:pt x="4272216" y="283349"/>
                </a:lnTo>
                <a:lnTo>
                  <a:pt x="4115346" y="279565"/>
                </a:lnTo>
                <a:lnTo>
                  <a:pt x="4062971" y="284022"/>
                </a:lnTo>
                <a:lnTo>
                  <a:pt x="4014508" y="296722"/>
                </a:lnTo>
                <a:lnTo>
                  <a:pt x="3970337" y="316699"/>
                </a:lnTo>
                <a:lnTo>
                  <a:pt x="3930827" y="342988"/>
                </a:lnTo>
                <a:lnTo>
                  <a:pt x="3896372" y="374611"/>
                </a:lnTo>
                <a:lnTo>
                  <a:pt x="3867340" y="410591"/>
                </a:lnTo>
                <a:lnTo>
                  <a:pt x="3844112" y="449961"/>
                </a:lnTo>
                <a:lnTo>
                  <a:pt x="3827043" y="491744"/>
                </a:lnTo>
                <a:lnTo>
                  <a:pt x="3816527" y="534974"/>
                </a:lnTo>
                <a:lnTo>
                  <a:pt x="3812946" y="578662"/>
                </a:lnTo>
                <a:lnTo>
                  <a:pt x="3813429" y="605129"/>
                </a:lnTo>
                <a:lnTo>
                  <a:pt x="3814483" y="630047"/>
                </a:lnTo>
                <a:lnTo>
                  <a:pt x="3816019" y="655802"/>
                </a:lnTo>
                <a:lnTo>
                  <a:pt x="4312196" y="839241"/>
                </a:lnTo>
                <a:lnTo>
                  <a:pt x="4305287" y="883462"/>
                </a:lnTo>
                <a:lnTo>
                  <a:pt x="4285843" y="922921"/>
                </a:lnTo>
                <a:lnTo>
                  <a:pt x="4255808" y="956170"/>
                </a:lnTo>
                <a:lnTo>
                  <a:pt x="4217162" y="981735"/>
                </a:lnTo>
                <a:lnTo>
                  <a:pt x="4171835" y="998143"/>
                </a:lnTo>
                <a:lnTo>
                  <a:pt x="4121772" y="1003935"/>
                </a:lnTo>
                <a:lnTo>
                  <a:pt x="4025646" y="979932"/>
                </a:lnTo>
                <a:lnTo>
                  <a:pt x="3970921" y="927112"/>
                </a:lnTo>
                <a:lnTo>
                  <a:pt x="3946334" y="874293"/>
                </a:lnTo>
                <a:lnTo>
                  <a:pt x="3940645" y="850277"/>
                </a:lnTo>
                <a:lnTo>
                  <a:pt x="3814965" y="883793"/>
                </a:lnTo>
                <a:lnTo>
                  <a:pt x="3844975" y="1026706"/>
                </a:lnTo>
                <a:lnTo>
                  <a:pt x="3887178" y="1100099"/>
                </a:lnTo>
                <a:lnTo>
                  <a:pt x="3970553" y="1127137"/>
                </a:lnTo>
                <a:lnTo>
                  <a:pt x="4124083" y="1130998"/>
                </a:lnTo>
                <a:lnTo>
                  <a:pt x="4175087" y="1127201"/>
                </a:lnTo>
                <a:lnTo>
                  <a:pt x="4222077" y="1116291"/>
                </a:lnTo>
                <a:lnTo>
                  <a:pt x="4264863" y="1099032"/>
                </a:lnTo>
                <a:lnTo>
                  <a:pt x="4303280" y="1076134"/>
                </a:lnTo>
                <a:lnTo>
                  <a:pt x="4337151" y="1048359"/>
                </a:lnTo>
                <a:lnTo>
                  <a:pt x="4366285" y="1016431"/>
                </a:lnTo>
                <a:lnTo>
                  <a:pt x="4390529" y="981087"/>
                </a:lnTo>
                <a:lnTo>
                  <a:pt x="4409694" y="943076"/>
                </a:lnTo>
                <a:lnTo>
                  <a:pt x="4423600" y="903122"/>
                </a:lnTo>
                <a:lnTo>
                  <a:pt x="4432071" y="861974"/>
                </a:lnTo>
                <a:lnTo>
                  <a:pt x="4434929" y="820381"/>
                </a:lnTo>
                <a:close/>
              </a:path>
              <a:path w="6922134" h="1153160">
                <a:moveTo>
                  <a:pt x="5404561" y="298259"/>
                </a:moveTo>
                <a:lnTo>
                  <a:pt x="5277497" y="298259"/>
                </a:lnTo>
                <a:lnTo>
                  <a:pt x="5277497" y="400329"/>
                </a:lnTo>
                <a:lnTo>
                  <a:pt x="5242966" y="370116"/>
                </a:lnTo>
                <a:lnTo>
                  <a:pt x="5205298" y="343712"/>
                </a:lnTo>
                <a:lnTo>
                  <a:pt x="5164798" y="321424"/>
                </a:lnTo>
                <a:lnTo>
                  <a:pt x="5121757" y="303568"/>
                </a:lnTo>
                <a:lnTo>
                  <a:pt x="5076507" y="290436"/>
                </a:lnTo>
                <a:lnTo>
                  <a:pt x="5029327" y="282321"/>
                </a:lnTo>
                <a:lnTo>
                  <a:pt x="4980521" y="279552"/>
                </a:lnTo>
                <a:lnTo>
                  <a:pt x="4934140" y="282054"/>
                </a:lnTo>
                <a:lnTo>
                  <a:pt x="4889195" y="289369"/>
                </a:lnTo>
                <a:lnTo>
                  <a:pt x="4845964" y="301256"/>
                </a:lnTo>
                <a:lnTo>
                  <a:pt x="4804689" y="317449"/>
                </a:lnTo>
                <a:lnTo>
                  <a:pt x="4765649" y="337680"/>
                </a:lnTo>
                <a:lnTo>
                  <a:pt x="4729099" y="361696"/>
                </a:lnTo>
                <a:lnTo>
                  <a:pt x="4695291" y="389242"/>
                </a:lnTo>
                <a:lnTo>
                  <a:pt x="4664481" y="420039"/>
                </a:lnTo>
                <a:lnTo>
                  <a:pt x="4636948" y="453847"/>
                </a:lnTo>
                <a:lnTo>
                  <a:pt x="4612932" y="490410"/>
                </a:lnTo>
                <a:lnTo>
                  <a:pt x="4592701" y="529450"/>
                </a:lnTo>
                <a:lnTo>
                  <a:pt x="4576508" y="570712"/>
                </a:lnTo>
                <a:lnTo>
                  <a:pt x="4564621" y="613956"/>
                </a:lnTo>
                <a:lnTo>
                  <a:pt x="4557306" y="658888"/>
                </a:lnTo>
                <a:lnTo>
                  <a:pt x="4554804" y="705281"/>
                </a:lnTo>
                <a:lnTo>
                  <a:pt x="4557306" y="751662"/>
                </a:lnTo>
                <a:lnTo>
                  <a:pt x="4564621" y="796607"/>
                </a:lnTo>
                <a:lnTo>
                  <a:pt x="4576508" y="839838"/>
                </a:lnTo>
                <a:lnTo>
                  <a:pt x="4592701" y="881100"/>
                </a:lnTo>
                <a:lnTo>
                  <a:pt x="4612932" y="920140"/>
                </a:lnTo>
                <a:lnTo>
                  <a:pt x="4636948" y="956703"/>
                </a:lnTo>
                <a:lnTo>
                  <a:pt x="4664481" y="990511"/>
                </a:lnTo>
                <a:lnTo>
                  <a:pt x="4695291" y="1021321"/>
                </a:lnTo>
                <a:lnTo>
                  <a:pt x="4729099" y="1048854"/>
                </a:lnTo>
                <a:lnTo>
                  <a:pt x="4765649" y="1072870"/>
                </a:lnTo>
                <a:lnTo>
                  <a:pt x="4804689" y="1093101"/>
                </a:lnTo>
                <a:lnTo>
                  <a:pt x="4845964" y="1109294"/>
                </a:lnTo>
                <a:lnTo>
                  <a:pt x="4889195" y="1121168"/>
                </a:lnTo>
                <a:lnTo>
                  <a:pt x="4934140" y="1128496"/>
                </a:lnTo>
                <a:lnTo>
                  <a:pt x="4980521" y="1130998"/>
                </a:lnTo>
                <a:lnTo>
                  <a:pt x="5032324" y="1127874"/>
                </a:lnTo>
                <a:lnTo>
                  <a:pt x="5082273" y="1118755"/>
                </a:lnTo>
                <a:lnTo>
                  <a:pt x="5130012" y="1104011"/>
                </a:lnTo>
                <a:lnTo>
                  <a:pt x="5175174" y="1083983"/>
                </a:lnTo>
                <a:lnTo>
                  <a:pt x="5217401" y="1059065"/>
                </a:lnTo>
                <a:lnTo>
                  <a:pt x="5146700" y="953477"/>
                </a:lnTo>
                <a:lnTo>
                  <a:pt x="5109349" y="974801"/>
                </a:lnTo>
                <a:lnTo>
                  <a:pt x="5068862" y="990663"/>
                </a:lnTo>
                <a:lnTo>
                  <a:pt x="5025758" y="1000544"/>
                </a:lnTo>
                <a:lnTo>
                  <a:pt x="4980521" y="1003947"/>
                </a:lnTo>
                <a:lnTo>
                  <a:pt x="4932083" y="1000036"/>
                </a:lnTo>
                <a:lnTo>
                  <a:pt x="4886122" y="988720"/>
                </a:lnTo>
                <a:lnTo>
                  <a:pt x="4843272" y="970610"/>
                </a:lnTo>
                <a:lnTo>
                  <a:pt x="4804143" y="946315"/>
                </a:lnTo>
                <a:lnTo>
                  <a:pt x="4769332" y="916470"/>
                </a:lnTo>
                <a:lnTo>
                  <a:pt x="4739487" y="881659"/>
                </a:lnTo>
                <a:lnTo>
                  <a:pt x="4715205" y="842530"/>
                </a:lnTo>
                <a:lnTo>
                  <a:pt x="4697095" y="799680"/>
                </a:lnTo>
                <a:lnTo>
                  <a:pt x="4685779" y="753719"/>
                </a:lnTo>
                <a:lnTo>
                  <a:pt x="4681867" y="705281"/>
                </a:lnTo>
                <a:lnTo>
                  <a:pt x="4685779" y="656831"/>
                </a:lnTo>
                <a:lnTo>
                  <a:pt x="4697095" y="610882"/>
                </a:lnTo>
                <a:lnTo>
                  <a:pt x="4715205" y="568032"/>
                </a:lnTo>
                <a:lnTo>
                  <a:pt x="4739487" y="528891"/>
                </a:lnTo>
                <a:lnTo>
                  <a:pt x="4769332" y="494093"/>
                </a:lnTo>
                <a:lnTo>
                  <a:pt x="4804143" y="464235"/>
                </a:lnTo>
                <a:lnTo>
                  <a:pt x="4843272" y="439953"/>
                </a:lnTo>
                <a:lnTo>
                  <a:pt x="4886122" y="421843"/>
                </a:lnTo>
                <a:lnTo>
                  <a:pt x="4932083" y="410527"/>
                </a:lnTo>
                <a:lnTo>
                  <a:pt x="4980521" y="406615"/>
                </a:lnTo>
                <a:lnTo>
                  <a:pt x="5030813" y="410832"/>
                </a:lnTo>
                <a:lnTo>
                  <a:pt x="5078387" y="423011"/>
                </a:lnTo>
                <a:lnTo>
                  <a:pt x="5122557" y="442480"/>
                </a:lnTo>
                <a:lnTo>
                  <a:pt x="5162626" y="468553"/>
                </a:lnTo>
                <a:lnTo>
                  <a:pt x="5197932" y="500507"/>
                </a:lnTo>
                <a:lnTo>
                  <a:pt x="5227752" y="537692"/>
                </a:lnTo>
                <a:lnTo>
                  <a:pt x="5251412" y="579386"/>
                </a:lnTo>
                <a:lnTo>
                  <a:pt x="5268226" y="624916"/>
                </a:lnTo>
                <a:lnTo>
                  <a:pt x="5277497" y="673595"/>
                </a:lnTo>
                <a:lnTo>
                  <a:pt x="5277497" y="1118082"/>
                </a:lnTo>
                <a:lnTo>
                  <a:pt x="5404561" y="1118082"/>
                </a:lnTo>
                <a:lnTo>
                  <a:pt x="5404561" y="298259"/>
                </a:lnTo>
                <a:close/>
              </a:path>
              <a:path w="6922134" h="1153160">
                <a:moveTo>
                  <a:pt x="6474777" y="838352"/>
                </a:moveTo>
                <a:lnTo>
                  <a:pt x="6384925" y="748499"/>
                </a:lnTo>
                <a:lnTo>
                  <a:pt x="6070676" y="1062748"/>
                </a:lnTo>
                <a:lnTo>
                  <a:pt x="6160528" y="1152601"/>
                </a:lnTo>
                <a:lnTo>
                  <a:pt x="6474777" y="838352"/>
                </a:lnTo>
                <a:close/>
              </a:path>
              <a:path w="6922134" h="1153160">
                <a:moveTo>
                  <a:pt x="6474777" y="615886"/>
                </a:moveTo>
                <a:lnTo>
                  <a:pt x="6160528" y="301637"/>
                </a:lnTo>
                <a:lnTo>
                  <a:pt x="6070676" y="391477"/>
                </a:lnTo>
                <a:lnTo>
                  <a:pt x="6384938" y="705726"/>
                </a:lnTo>
                <a:lnTo>
                  <a:pt x="6474777" y="615886"/>
                </a:lnTo>
                <a:close/>
              </a:path>
              <a:path w="6922134" h="1153160">
                <a:moveTo>
                  <a:pt x="6921640" y="1062748"/>
                </a:moveTo>
                <a:lnTo>
                  <a:pt x="6607391" y="748499"/>
                </a:lnTo>
                <a:lnTo>
                  <a:pt x="6517551" y="838352"/>
                </a:lnTo>
                <a:lnTo>
                  <a:pt x="6831800" y="1152601"/>
                </a:lnTo>
                <a:lnTo>
                  <a:pt x="6921640" y="1062748"/>
                </a:lnTo>
                <a:close/>
              </a:path>
              <a:path w="6922134" h="1153160">
                <a:moveTo>
                  <a:pt x="6921640" y="391477"/>
                </a:moveTo>
                <a:lnTo>
                  <a:pt x="6831800" y="301637"/>
                </a:lnTo>
                <a:lnTo>
                  <a:pt x="6517551" y="615886"/>
                </a:lnTo>
                <a:lnTo>
                  <a:pt x="6607391" y="705726"/>
                </a:lnTo>
                <a:lnTo>
                  <a:pt x="6921640" y="3914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bg object 17">
            <a:extLst>
              <a:ext uri="{FF2B5EF4-FFF2-40B4-BE49-F238E27FC236}">
                <a16:creationId xmlns:a16="http://schemas.microsoft.com/office/drawing/2014/main" id="{94FD1519-2022-4235-9F38-035806CB190E}"/>
              </a:ext>
            </a:extLst>
          </p:cNvPr>
          <p:cNvSpPr/>
          <p:nvPr/>
        </p:nvSpPr>
        <p:spPr>
          <a:xfrm>
            <a:off x="7818437" y="2768026"/>
            <a:ext cx="6858000" cy="1822522"/>
          </a:xfrm>
          <a:custGeom>
            <a:avLst/>
            <a:gdLst/>
            <a:ahLst/>
            <a:cxnLst/>
            <a:rect l="l" t="t" r="r" b="b"/>
            <a:pathLst>
              <a:path w="3078480" h="3056890">
                <a:moveTo>
                  <a:pt x="3078137" y="0"/>
                </a:moveTo>
                <a:lnTo>
                  <a:pt x="0" y="147543"/>
                </a:lnTo>
                <a:lnTo>
                  <a:pt x="0" y="3056647"/>
                </a:lnTo>
                <a:lnTo>
                  <a:pt x="3078137" y="2909104"/>
                </a:lnTo>
                <a:lnTo>
                  <a:pt x="3078137" y="0"/>
                </a:lnTo>
                <a:close/>
              </a:path>
            </a:pathLst>
          </a:custGeom>
          <a:solidFill>
            <a:srgbClr val="461E7C"/>
          </a:solidFill>
        </p:spPr>
        <p:txBody>
          <a:bodyPr wrap="square" lIns="0" tIns="0" rIns="0" bIns="0" rtlCol="0"/>
          <a:lstStyle/>
          <a:p>
            <a:endParaRPr dirty="0">
              <a:latin typeface="Roobert ENEL" panose="00000500000000000000" pitchFamily="50" charset="0"/>
            </a:endParaRPr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028F78C0-4C2D-49B3-947C-4514DCD680C2}"/>
              </a:ext>
            </a:extLst>
          </p:cNvPr>
          <p:cNvSpPr txBox="1">
            <a:spLocks/>
          </p:cNvSpPr>
          <p:nvPr/>
        </p:nvSpPr>
        <p:spPr>
          <a:xfrm>
            <a:off x="1792287" y="4260850"/>
            <a:ext cx="15724188" cy="741100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5300" b="1" i="0">
                <a:solidFill>
                  <a:srgbClr val="E94E0F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marL="12700" marR="5080">
              <a:lnSpc>
                <a:spcPct val="100299"/>
              </a:lnSpc>
              <a:spcBef>
                <a:spcPts val="90"/>
              </a:spcBef>
            </a:pPr>
            <a:r>
              <a:rPr lang="es-ES" sz="12000" kern="0" spc="-120" dirty="0">
                <a:solidFill>
                  <a:schemeClr val="bg1"/>
                </a:solidFill>
                <a:latin typeface="Roobert ENEL" panose="00000500000000000000" pitchFamily="50" charset="0"/>
              </a:rPr>
              <a:t>Endesa X i </a:t>
            </a:r>
            <a:r>
              <a:rPr lang="es-ES" sz="12000" kern="0" spc="-120" dirty="0" err="1">
                <a:solidFill>
                  <a:schemeClr val="bg1"/>
                </a:solidFill>
                <a:latin typeface="Roobert ENEL" panose="00000500000000000000" pitchFamily="50" charset="0"/>
              </a:rPr>
              <a:t>els</a:t>
            </a:r>
            <a:r>
              <a:rPr lang="es-ES" sz="12000" kern="0" spc="-120" dirty="0">
                <a:solidFill>
                  <a:schemeClr val="bg1"/>
                </a:solidFill>
                <a:latin typeface="Roobert ENEL" panose="00000500000000000000" pitchFamily="50" charset="0"/>
              </a:rPr>
              <a:t> reptes de la </a:t>
            </a:r>
            <a:r>
              <a:rPr lang="es-ES" sz="12000" kern="0" spc="-120" dirty="0" err="1">
                <a:solidFill>
                  <a:schemeClr val="bg1"/>
                </a:solidFill>
                <a:latin typeface="Roobert ENEL" panose="00000500000000000000" pitchFamily="50" charset="0"/>
              </a:rPr>
              <a:t>descarbonització</a:t>
            </a:r>
            <a:r>
              <a:rPr lang="es-ES" sz="12000" kern="0" spc="-120" dirty="0">
                <a:solidFill>
                  <a:schemeClr val="bg1"/>
                </a:solidFill>
                <a:latin typeface="Roobert ENEL" panose="00000500000000000000" pitchFamily="50" charset="0"/>
              </a:rPr>
              <a:t> a la </a:t>
            </a:r>
            <a:r>
              <a:rPr lang="es-ES" sz="12000" kern="0" spc="-120" dirty="0" err="1">
                <a:solidFill>
                  <a:schemeClr val="bg1"/>
                </a:solidFill>
                <a:latin typeface="Roobert ENEL" panose="00000500000000000000" pitchFamily="50" charset="0"/>
              </a:rPr>
              <a:t>indústria</a:t>
            </a:r>
            <a:r>
              <a:rPr lang="es-ES" sz="12000" kern="0" spc="-120" dirty="0">
                <a:solidFill>
                  <a:schemeClr val="bg1"/>
                </a:solidFill>
                <a:latin typeface="Roobert ENEL" panose="00000500000000000000" pitchFamily="50" charset="0"/>
              </a:rPr>
              <a:t>
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Un dibujo de un árbol&#10;&#10;Descripción generada automáticamente con confianza baja">
            <a:extLst>
              <a:ext uri="{FF2B5EF4-FFF2-40B4-BE49-F238E27FC236}">
                <a16:creationId xmlns:a16="http://schemas.microsoft.com/office/drawing/2014/main" id="{891E63F1-48BA-BB2C-4805-B54F360371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4"/>
            <a:ext cx="35740975" cy="20103085"/>
          </a:xfrm>
          <a:prstGeom prst="rect">
            <a:avLst/>
          </a:prstGeom>
        </p:spPr>
      </p:pic>
      <p:sp>
        <p:nvSpPr>
          <p:cNvPr id="4" name="object 4">
            <a:extLst>
              <a:ext uri="{FF2B5EF4-FFF2-40B4-BE49-F238E27FC236}">
                <a16:creationId xmlns:a16="http://schemas.microsoft.com/office/drawing/2014/main" id="{67EB9724-21FF-49A3-DCB2-8ED17AF80694}"/>
              </a:ext>
            </a:extLst>
          </p:cNvPr>
          <p:cNvSpPr txBox="1">
            <a:spLocks/>
          </p:cNvSpPr>
          <p:nvPr/>
        </p:nvSpPr>
        <p:spPr>
          <a:xfrm>
            <a:off x="2249487" y="4108450"/>
            <a:ext cx="28956000" cy="6183102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s-ES" sz="20000" b="1" kern="0" spc="55" dirty="0">
                <a:solidFill>
                  <a:schemeClr val="bg1"/>
                </a:solidFill>
                <a:latin typeface="Roobert ENEL" panose="00000500000000000000" pitchFamily="50" charset="0"/>
              </a:rPr>
              <a:t>Pla </a:t>
            </a:r>
            <a:r>
              <a:rPr lang="es-ES" sz="20000" b="1" kern="0" spc="55">
                <a:solidFill>
                  <a:schemeClr val="bg1"/>
                </a:solidFill>
                <a:latin typeface="Roobert ENEL" panose="00000500000000000000" pitchFamily="50" charset="0"/>
              </a:rPr>
              <a:t>d’actuacions</a:t>
            </a:r>
            <a:r>
              <a:rPr lang="es-ES" sz="20000" b="1" kern="0" spc="55" dirty="0">
                <a:solidFill>
                  <a:schemeClr val="bg1"/>
                </a:solidFill>
                <a:latin typeface="Roobert ENEL" panose="00000500000000000000" pitchFamily="50" charset="0"/>
              </a:rPr>
              <a:t>
</a:t>
            </a:r>
            <a:endParaRPr lang="es-ES" sz="20000" b="1" kern="0" spc="5" dirty="0">
              <a:solidFill>
                <a:schemeClr val="bg1"/>
              </a:solidFill>
              <a:latin typeface="Roobert ENEL" panose="00000500000000000000" pitchFamily="50" charset="0"/>
            </a:endParaRPr>
          </a:p>
        </p:txBody>
      </p:sp>
      <p:sp>
        <p:nvSpPr>
          <p:cNvPr id="5" name="bg object 21">
            <a:extLst>
              <a:ext uri="{FF2B5EF4-FFF2-40B4-BE49-F238E27FC236}">
                <a16:creationId xmlns:a16="http://schemas.microsoft.com/office/drawing/2014/main" id="{210B0584-912D-2BE9-6D69-D8447ED866B0}"/>
              </a:ext>
            </a:extLst>
          </p:cNvPr>
          <p:cNvSpPr/>
          <p:nvPr/>
        </p:nvSpPr>
        <p:spPr>
          <a:xfrm>
            <a:off x="28843287" y="18434050"/>
            <a:ext cx="5702934" cy="924560"/>
          </a:xfrm>
          <a:custGeom>
            <a:avLst/>
            <a:gdLst/>
            <a:ahLst/>
            <a:cxnLst/>
            <a:rect l="l" t="t" r="r" b="b"/>
            <a:pathLst>
              <a:path w="6922134" h="1153160">
                <a:moveTo>
                  <a:pt x="845985" y="631863"/>
                </a:moveTo>
                <a:lnTo>
                  <a:pt x="835507" y="586574"/>
                </a:lnTo>
                <a:lnTo>
                  <a:pt x="820331" y="543280"/>
                </a:lnTo>
                <a:lnTo>
                  <a:pt x="800735" y="502259"/>
                </a:lnTo>
                <a:lnTo>
                  <a:pt x="777024" y="463778"/>
                </a:lnTo>
                <a:lnTo>
                  <a:pt x="749465" y="428155"/>
                </a:lnTo>
                <a:lnTo>
                  <a:pt x="718375" y="395655"/>
                </a:lnTo>
                <a:lnTo>
                  <a:pt x="684022" y="366560"/>
                </a:lnTo>
                <a:lnTo>
                  <a:pt x="646696" y="341172"/>
                </a:lnTo>
                <a:lnTo>
                  <a:pt x="606704" y="319747"/>
                </a:lnTo>
                <a:lnTo>
                  <a:pt x="564311" y="302590"/>
                </a:lnTo>
                <a:lnTo>
                  <a:pt x="519823" y="289991"/>
                </a:lnTo>
                <a:lnTo>
                  <a:pt x="473532" y="282219"/>
                </a:lnTo>
                <a:lnTo>
                  <a:pt x="425716" y="279565"/>
                </a:lnTo>
                <a:lnTo>
                  <a:pt x="379336" y="282067"/>
                </a:lnTo>
                <a:lnTo>
                  <a:pt x="334391" y="289382"/>
                </a:lnTo>
                <a:lnTo>
                  <a:pt x="291160" y="301269"/>
                </a:lnTo>
                <a:lnTo>
                  <a:pt x="249897" y="317461"/>
                </a:lnTo>
                <a:lnTo>
                  <a:pt x="210858" y="337693"/>
                </a:lnTo>
                <a:lnTo>
                  <a:pt x="174294" y="361708"/>
                </a:lnTo>
                <a:lnTo>
                  <a:pt x="140487" y="389242"/>
                </a:lnTo>
                <a:lnTo>
                  <a:pt x="109677" y="420052"/>
                </a:lnTo>
                <a:lnTo>
                  <a:pt x="82143" y="453859"/>
                </a:lnTo>
                <a:lnTo>
                  <a:pt x="58127" y="490410"/>
                </a:lnTo>
                <a:lnTo>
                  <a:pt x="37896" y="529450"/>
                </a:lnTo>
                <a:lnTo>
                  <a:pt x="21704" y="570725"/>
                </a:lnTo>
                <a:lnTo>
                  <a:pt x="9817" y="613956"/>
                </a:lnTo>
                <a:lnTo>
                  <a:pt x="2501" y="658888"/>
                </a:lnTo>
                <a:lnTo>
                  <a:pt x="0" y="705281"/>
                </a:lnTo>
                <a:lnTo>
                  <a:pt x="2501" y="751662"/>
                </a:lnTo>
                <a:lnTo>
                  <a:pt x="9817" y="796607"/>
                </a:lnTo>
                <a:lnTo>
                  <a:pt x="21704" y="839838"/>
                </a:lnTo>
                <a:lnTo>
                  <a:pt x="37896" y="881100"/>
                </a:lnTo>
                <a:lnTo>
                  <a:pt x="58127" y="920153"/>
                </a:lnTo>
                <a:lnTo>
                  <a:pt x="82143" y="956703"/>
                </a:lnTo>
                <a:lnTo>
                  <a:pt x="109677" y="990511"/>
                </a:lnTo>
                <a:lnTo>
                  <a:pt x="140487" y="1021321"/>
                </a:lnTo>
                <a:lnTo>
                  <a:pt x="174294" y="1048854"/>
                </a:lnTo>
                <a:lnTo>
                  <a:pt x="210858" y="1072870"/>
                </a:lnTo>
                <a:lnTo>
                  <a:pt x="249897" y="1093101"/>
                </a:lnTo>
                <a:lnTo>
                  <a:pt x="291160" y="1109294"/>
                </a:lnTo>
                <a:lnTo>
                  <a:pt x="334391" y="1121181"/>
                </a:lnTo>
                <a:lnTo>
                  <a:pt x="379336" y="1128496"/>
                </a:lnTo>
                <a:lnTo>
                  <a:pt x="425716" y="1130998"/>
                </a:lnTo>
                <a:lnTo>
                  <a:pt x="476542" y="1127988"/>
                </a:lnTo>
                <a:lnTo>
                  <a:pt x="525589" y="1119212"/>
                </a:lnTo>
                <a:lnTo>
                  <a:pt x="572528" y="1105001"/>
                </a:lnTo>
                <a:lnTo>
                  <a:pt x="617004" y="1085697"/>
                </a:lnTo>
                <a:lnTo>
                  <a:pt x="658685" y="1061656"/>
                </a:lnTo>
                <a:lnTo>
                  <a:pt x="697217" y="1033208"/>
                </a:lnTo>
                <a:lnTo>
                  <a:pt x="732256" y="1000696"/>
                </a:lnTo>
                <a:lnTo>
                  <a:pt x="763473" y="964463"/>
                </a:lnTo>
                <a:lnTo>
                  <a:pt x="662673" y="887107"/>
                </a:lnTo>
                <a:lnTo>
                  <a:pt x="632866" y="920432"/>
                </a:lnTo>
                <a:lnTo>
                  <a:pt x="598424" y="948969"/>
                </a:lnTo>
                <a:lnTo>
                  <a:pt x="559917" y="972159"/>
                </a:lnTo>
                <a:lnTo>
                  <a:pt x="517918" y="989431"/>
                </a:lnTo>
                <a:lnTo>
                  <a:pt x="472998" y="1000213"/>
                </a:lnTo>
                <a:lnTo>
                  <a:pt x="425716" y="1003935"/>
                </a:lnTo>
                <a:lnTo>
                  <a:pt x="377266" y="1000023"/>
                </a:lnTo>
                <a:lnTo>
                  <a:pt x="331317" y="988707"/>
                </a:lnTo>
                <a:lnTo>
                  <a:pt x="288467" y="970597"/>
                </a:lnTo>
                <a:lnTo>
                  <a:pt x="249339" y="946315"/>
                </a:lnTo>
                <a:lnTo>
                  <a:pt x="214528" y="916457"/>
                </a:lnTo>
                <a:lnTo>
                  <a:pt x="184683" y="881659"/>
                </a:lnTo>
                <a:lnTo>
                  <a:pt x="160401" y="842530"/>
                </a:lnTo>
                <a:lnTo>
                  <a:pt x="142290" y="799680"/>
                </a:lnTo>
                <a:lnTo>
                  <a:pt x="130962" y="753719"/>
                </a:lnTo>
                <a:lnTo>
                  <a:pt x="127063" y="705281"/>
                </a:lnTo>
                <a:lnTo>
                  <a:pt x="130962" y="656831"/>
                </a:lnTo>
                <a:lnTo>
                  <a:pt x="142290" y="610882"/>
                </a:lnTo>
                <a:lnTo>
                  <a:pt x="160401" y="568032"/>
                </a:lnTo>
                <a:lnTo>
                  <a:pt x="184683" y="528891"/>
                </a:lnTo>
                <a:lnTo>
                  <a:pt x="214528" y="494093"/>
                </a:lnTo>
                <a:lnTo>
                  <a:pt x="249339" y="464235"/>
                </a:lnTo>
                <a:lnTo>
                  <a:pt x="288467" y="439953"/>
                </a:lnTo>
                <a:lnTo>
                  <a:pt x="331317" y="421843"/>
                </a:lnTo>
                <a:lnTo>
                  <a:pt x="377266" y="410527"/>
                </a:lnTo>
                <a:lnTo>
                  <a:pt x="425716" y="406615"/>
                </a:lnTo>
                <a:lnTo>
                  <a:pt x="476935" y="410984"/>
                </a:lnTo>
                <a:lnTo>
                  <a:pt x="525399" y="423608"/>
                </a:lnTo>
                <a:lnTo>
                  <a:pt x="570344" y="443750"/>
                </a:lnTo>
                <a:lnTo>
                  <a:pt x="611022" y="470687"/>
                </a:lnTo>
                <a:lnTo>
                  <a:pt x="646696" y="503707"/>
                </a:lnTo>
                <a:lnTo>
                  <a:pt x="676605" y="542048"/>
                </a:lnTo>
                <a:lnTo>
                  <a:pt x="699998" y="585012"/>
                </a:lnTo>
                <a:lnTo>
                  <a:pt x="716153" y="631863"/>
                </a:lnTo>
                <a:lnTo>
                  <a:pt x="401294" y="631863"/>
                </a:lnTo>
                <a:lnTo>
                  <a:pt x="401294" y="758913"/>
                </a:lnTo>
                <a:lnTo>
                  <a:pt x="845985" y="758913"/>
                </a:lnTo>
                <a:lnTo>
                  <a:pt x="845985" y="631863"/>
                </a:lnTo>
                <a:close/>
              </a:path>
              <a:path w="6922134" h="1153160">
                <a:moveTo>
                  <a:pt x="1736051" y="631583"/>
                </a:moveTo>
                <a:lnTo>
                  <a:pt x="1732813" y="583387"/>
                </a:lnTo>
                <a:lnTo>
                  <a:pt x="1723390" y="537298"/>
                </a:lnTo>
                <a:lnTo>
                  <a:pt x="1708213" y="493712"/>
                </a:lnTo>
                <a:lnTo>
                  <a:pt x="1687703" y="453021"/>
                </a:lnTo>
                <a:lnTo>
                  <a:pt x="1662290" y="415645"/>
                </a:lnTo>
                <a:lnTo>
                  <a:pt x="1632394" y="381952"/>
                </a:lnTo>
                <a:lnTo>
                  <a:pt x="1598460" y="352361"/>
                </a:lnTo>
                <a:lnTo>
                  <a:pt x="1560906" y="327253"/>
                </a:lnTo>
                <a:lnTo>
                  <a:pt x="1520151" y="307035"/>
                </a:lnTo>
                <a:lnTo>
                  <a:pt x="1476629" y="292112"/>
                </a:lnTo>
                <a:lnTo>
                  <a:pt x="1430769" y="282854"/>
                </a:lnTo>
                <a:lnTo>
                  <a:pt x="1382991" y="279692"/>
                </a:lnTo>
                <a:lnTo>
                  <a:pt x="1328674" y="283298"/>
                </a:lnTo>
                <a:lnTo>
                  <a:pt x="1276629" y="293827"/>
                </a:lnTo>
                <a:lnTo>
                  <a:pt x="1227315" y="310794"/>
                </a:lnTo>
                <a:lnTo>
                  <a:pt x="1181163" y="333730"/>
                </a:lnTo>
                <a:lnTo>
                  <a:pt x="1138605" y="362191"/>
                </a:lnTo>
                <a:lnTo>
                  <a:pt x="1100086" y="395693"/>
                </a:lnTo>
                <a:lnTo>
                  <a:pt x="1100086" y="314223"/>
                </a:lnTo>
                <a:lnTo>
                  <a:pt x="973035" y="314223"/>
                </a:lnTo>
                <a:lnTo>
                  <a:pt x="973035" y="758913"/>
                </a:lnTo>
                <a:lnTo>
                  <a:pt x="1100086" y="758913"/>
                </a:lnTo>
                <a:lnTo>
                  <a:pt x="1100086" y="653681"/>
                </a:lnTo>
                <a:lnTo>
                  <a:pt x="1109129" y="618350"/>
                </a:lnTo>
                <a:lnTo>
                  <a:pt x="1123543" y="581380"/>
                </a:lnTo>
                <a:lnTo>
                  <a:pt x="1143419" y="544322"/>
                </a:lnTo>
                <a:lnTo>
                  <a:pt x="1168869" y="508723"/>
                </a:lnTo>
                <a:lnTo>
                  <a:pt x="1199972" y="476135"/>
                </a:lnTo>
                <a:lnTo>
                  <a:pt x="1236827" y="448094"/>
                </a:lnTo>
                <a:lnTo>
                  <a:pt x="1279537" y="426161"/>
                </a:lnTo>
                <a:lnTo>
                  <a:pt x="1328191" y="411861"/>
                </a:lnTo>
                <a:lnTo>
                  <a:pt x="1382877" y="406742"/>
                </a:lnTo>
                <a:lnTo>
                  <a:pt x="1428254" y="411200"/>
                </a:lnTo>
                <a:lnTo>
                  <a:pt x="1470596" y="424053"/>
                </a:lnTo>
                <a:lnTo>
                  <a:pt x="1509001" y="444461"/>
                </a:lnTo>
                <a:lnTo>
                  <a:pt x="1542503" y="471627"/>
                </a:lnTo>
                <a:lnTo>
                  <a:pt x="1570189" y="504736"/>
                </a:lnTo>
                <a:lnTo>
                  <a:pt x="1591119" y="542963"/>
                </a:lnTo>
                <a:lnTo>
                  <a:pt x="1604365" y="585520"/>
                </a:lnTo>
                <a:lnTo>
                  <a:pt x="1608988" y="631583"/>
                </a:lnTo>
                <a:lnTo>
                  <a:pt x="1608988" y="1118082"/>
                </a:lnTo>
                <a:lnTo>
                  <a:pt x="1736051" y="1118082"/>
                </a:lnTo>
                <a:lnTo>
                  <a:pt x="1736051" y="631583"/>
                </a:lnTo>
                <a:close/>
              </a:path>
              <a:path w="6922134" h="1153160">
                <a:moveTo>
                  <a:pt x="2712847" y="0"/>
                </a:moveTo>
                <a:lnTo>
                  <a:pt x="2585796" y="0"/>
                </a:lnTo>
                <a:lnTo>
                  <a:pt x="2585796" y="400329"/>
                </a:lnTo>
                <a:lnTo>
                  <a:pt x="2551265" y="370116"/>
                </a:lnTo>
                <a:lnTo>
                  <a:pt x="2513584" y="343712"/>
                </a:lnTo>
                <a:lnTo>
                  <a:pt x="2473083" y="321437"/>
                </a:lnTo>
                <a:lnTo>
                  <a:pt x="2430056" y="303568"/>
                </a:lnTo>
                <a:lnTo>
                  <a:pt x="2384806" y="290436"/>
                </a:lnTo>
                <a:lnTo>
                  <a:pt x="2337625" y="282333"/>
                </a:lnTo>
                <a:lnTo>
                  <a:pt x="2288819" y="279565"/>
                </a:lnTo>
                <a:lnTo>
                  <a:pt x="2242439" y="282054"/>
                </a:lnTo>
                <a:lnTo>
                  <a:pt x="2197493" y="289382"/>
                </a:lnTo>
                <a:lnTo>
                  <a:pt x="2154263" y="301269"/>
                </a:lnTo>
                <a:lnTo>
                  <a:pt x="2113000" y="317449"/>
                </a:lnTo>
                <a:lnTo>
                  <a:pt x="2073960" y="337680"/>
                </a:lnTo>
                <a:lnTo>
                  <a:pt x="2037397" y="361696"/>
                </a:lnTo>
                <a:lnTo>
                  <a:pt x="2003590" y="389242"/>
                </a:lnTo>
                <a:lnTo>
                  <a:pt x="1972779" y="420039"/>
                </a:lnTo>
                <a:lnTo>
                  <a:pt x="1945246" y="453859"/>
                </a:lnTo>
                <a:lnTo>
                  <a:pt x="1921230" y="490410"/>
                </a:lnTo>
                <a:lnTo>
                  <a:pt x="1900986" y="529450"/>
                </a:lnTo>
                <a:lnTo>
                  <a:pt x="1884807" y="570712"/>
                </a:lnTo>
                <a:lnTo>
                  <a:pt x="1872919" y="613943"/>
                </a:lnTo>
                <a:lnTo>
                  <a:pt x="1865591" y="658888"/>
                </a:lnTo>
                <a:lnTo>
                  <a:pt x="1863102" y="705281"/>
                </a:lnTo>
                <a:lnTo>
                  <a:pt x="1865591" y="751662"/>
                </a:lnTo>
                <a:lnTo>
                  <a:pt x="1872919" y="796607"/>
                </a:lnTo>
                <a:lnTo>
                  <a:pt x="1884807" y="839838"/>
                </a:lnTo>
                <a:lnTo>
                  <a:pt x="1900986" y="881100"/>
                </a:lnTo>
                <a:lnTo>
                  <a:pt x="1921230" y="920140"/>
                </a:lnTo>
                <a:lnTo>
                  <a:pt x="1945246" y="956703"/>
                </a:lnTo>
                <a:lnTo>
                  <a:pt x="1972779" y="990511"/>
                </a:lnTo>
                <a:lnTo>
                  <a:pt x="2003590" y="1021308"/>
                </a:lnTo>
                <a:lnTo>
                  <a:pt x="2037397" y="1048854"/>
                </a:lnTo>
                <a:lnTo>
                  <a:pt x="2073960" y="1072870"/>
                </a:lnTo>
                <a:lnTo>
                  <a:pt x="2113000" y="1093101"/>
                </a:lnTo>
                <a:lnTo>
                  <a:pt x="2154263" y="1109281"/>
                </a:lnTo>
                <a:lnTo>
                  <a:pt x="2197493" y="1121168"/>
                </a:lnTo>
                <a:lnTo>
                  <a:pt x="2242439" y="1128496"/>
                </a:lnTo>
                <a:lnTo>
                  <a:pt x="2288819" y="1130985"/>
                </a:lnTo>
                <a:lnTo>
                  <a:pt x="2340622" y="1127874"/>
                </a:lnTo>
                <a:lnTo>
                  <a:pt x="2390571" y="1118755"/>
                </a:lnTo>
                <a:lnTo>
                  <a:pt x="2438311" y="1103998"/>
                </a:lnTo>
                <a:lnTo>
                  <a:pt x="2483472" y="1083983"/>
                </a:lnTo>
                <a:lnTo>
                  <a:pt x="2525699" y="1059053"/>
                </a:lnTo>
                <a:lnTo>
                  <a:pt x="2454999" y="953465"/>
                </a:lnTo>
                <a:lnTo>
                  <a:pt x="2417648" y="974801"/>
                </a:lnTo>
                <a:lnTo>
                  <a:pt x="2377160" y="990663"/>
                </a:lnTo>
                <a:lnTo>
                  <a:pt x="2334056" y="1000544"/>
                </a:lnTo>
                <a:lnTo>
                  <a:pt x="2288819" y="1003947"/>
                </a:lnTo>
                <a:lnTo>
                  <a:pt x="2240381" y="1000036"/>
                </a:lnTo>
                <a:lnTo>
                  <a:pt x="2194420" y="988720"/>
                </a:lnTo>
                <a:lnTo>
                  <a:pt x="2151570" y="970610"/>
                </a:lnTo>
                <a:lnTo>
                  <a:pt x="2112429" y="946315"/>
                </a:lnTo>
                <a:lnTo>
                  <a:pt x="2077631" y="916470"/>
                </a:lnTo>
                <a:lnTo>
                  <a:pt x="2047786" y="881672"/>
                </a:lnTo>
                <a:lnTo>
                  <a:pt x="2023491" y="842530"/>
                </a:lnTo>
                <a:lnTo>
                  <a:pt x="2005380" y="799680"/>
                </a:lnTo>
                <a:lnTo>
                  <a:pt x="1994065" y="753719"/>
                </a:lnTo>
                <a:lnTo>
                  <a:pt x="1990153" y="705281"/>
                </a:lnTo>
                <a:lnTo>
                  <a:pt x="1994065" y="656831"/>
                </a:lnTo>
                <a:lnTo>
                  <a:pt x="2005380" y="610882"/>
                </a:lnTo>
                <a:lnTo>
                  <a:pt x="2023491" y="568020"/>
                </a:lnTo>
                <a:lnTo>
                  <a:pt x="2047786" y="528891"/>
                </a:lnTo>
                <a:lnTo>
                  <a:pt x="2077631" y="494093"/>
                </a:lnTo>
                <a:lnTo>
                  <a:pt x="2112429" y="464248"/>
                </a:lnTo>
                <a:lnTo>
                  <a:pt x="2151570" y="439953"/>
                </a:lnTo>
                <a:lnTo>
                  <a:pt x="2194420" y="421843"/>
                </a:lnTo>
                <a:lnTo>
                  <a:pt x="2240381" y="410527"/>
                </a:lnTo>
                <a:lnTo>
                  <a:pt x="2288819" y="406615"/>
                </a:lnTo>
                <a:lnTo>
                  <a:pt x="2339111" y="410832"/>
                </a:lnTo>
                <a:lnTo>
                  <a:pt x="2386685" y="423024"/>
                </a:lnTo>
                <a:lnTo>
                  <a:pt x="2430856" y="442493"/>
                </a:lnTo>
                <a:lnTo>
                  <a:pt x="2470937" y="468553"/>
                </a:lnTo>
                <a:lnTo>
                  <a:pt x="2506230" y="500519"/>
                </a:lnTo>
                <a:lnTo>
                  <a:pt x="2536050" y="537692"/>
                </a:lnTo>
                <a:lnTo>
                  <a:pt x="2559710" y="579386"/>
                </a:lnTo>
                <a:lnTo>
                  <a:pt x="2576525" y="624928"/>
                </a:lnTo>
                <a:lnTo>
                  <a:pt x="2585796" y="673608"/>
                </a:lnTo>
                <a:lnTo>
                  <a:pt x="2585796" y="1118069"/>
                </a:lnTo>
                <a:lnTo>
                  <a:pt x="2712847" y="1118069"/>
                </a:lnTo>
                <a:lnTo>
                  <a:pt x="2712847" y="0"/>
                </a:lnTo>
                <a:close/>
              </a:path>
              <a:path w="6922134" h="1153160">
                <a:moveTo>
                  <a:pt x="3685883" y="631863"/>
                </a:moveTo>
                <a:lnTo>
                  <a:pt x="3675418" y="586574"/>
                </a:lnTo>
                <a:lnTo>
                  <a:pt x="3660229" y="543280"/>
                </a:lnTo>
                <a:lnTo>
                  <a:pt x="3640645" y="502259"/>
                </a:lnTo>
                <a:lnTo>
                  <a:pt x="3616922" y="463778"/>
                </a:lnTo>
                <a:lnTo>
                  <a:pt x="3589375" y="428155"/>
                </a:lnTo>
                <a:lnTo>
                  <a:pt x="3558273" y="395655"/>
                </a:lnTo>
                <a:lnTo>
                  <a:pt x="3523919" y="366560"/>
                </a:lnTo>
                <a:lnTo>
                  <a:pt x="3486607" y="341172"/>
                </a:lnTo>
                <a:lnTo>
                  <a:pt x="3446602" y="319747"/>
                </a:lnTo>
                <a:lnTo>
                  <a:pt x="3404222" y="302590"/>
                </a:lnTo>
                <a:lnTo>
                  <a:pt x="3359734" y="289991"/>
                </a:lnTo>
                <a:lnTo>
                  <a:pt x="3313442" y="282219"/>
                </a:lnTo>
                <a:lnTo>
                  <a:pt x="3265627" y="279565"/>
                </a:lnTo>
                <a:lnTo>
                  <a:pt x="3219234" y="282067"/>
                </a:lnTo>
                <a:lnTo>
                  <a:pt x="3174301" y="289382"/>
                </a:lnTo>
                <a:lnTo>
                  <a:pt x="3131058" y="301269"/>
                </a:lnTo>
                <a:lnTo>
                  <a:pt x="3089795" y="317461"/>
                </a:lnTo>
                <a:lnTo>
                  <a:pt x="3050756" y="337693"/>
                </a:lnTo>
                <a:lnTo>
                  <a:pt x="3014205" y="361708"/>
                </a:lnTo>
                <a:lnTo>
                  <a:pt x="2980385" y="389242"/>
                </a:lnTo>
                <a:lnTo>
                  <a:pt x="2949587" y="420052"/>
                </a:lnTo>
                <a:lnTo>
                  <a:pt x="2922041" y="453859"/>
                </a:lnTo>
                <a:lnTo>
                  <a:pt x="2898025" y="490410"/>
                </a:lnTo>
                <a:lnTo>
                  <a:pt x="2877794" y="529450"/>
                </a:lnTo>
                <a:lnTo>
                  <a:pt x="2861614" y="570725"/>
                </a:lnTo>
                <a:lnTo>
                  <a:pt x="2849727" y="613956"/>
                </a:lnTo>
                <a:lnTo>
                  <a:pt x="2842399" y="658888"/>
                </a:lnTo>
                <a:lnTo>
                  <a:pt x="2839910" y="705281"/>
                </a:lnTo>
                <a:lnTo>
                  <a:pt x="2842399" y="751662"/>
                </a:lnTo>
                <a:lnTo>
                  <a:pt x="2849727" y="796607"/>
                </a:lnTo>
                <a:lnTo>
                  <a:pt x="2861614" y="839838"/>
                </a:lnTo>
                <a:lnTo>
                  <a:pt x="2877794" y="881100"/>
                </a:lnTo>
                <a:lnTo>
                  <a:pt x="2898025" y="920153"/>
                </a:lnTo>
                <a:lnTo>
                  <a:pt x="2922041" y="956703"/>
                </a:lnTo>
                <a:lnTo>
                  <a:pt x="2949587" y="990511"/>
                </a:lnTo>
                <a:lnTo>
                  <a:pt x="2980385" y="1021321"/>
                </a:lnTo>
                <a:lnTo>
                  <a:pt x="3014205" y="1048854"/>
                </a:lnTo>
                <a:lnTo>
                  <a:pt x="3050756" y="1072870"/>
                </a:lnTo>
                <a:lnTo>
                  <a:pt x="3089795" y="1093101"/>
                </a:lnTo>
                <a:lnTo>
                  <a:pt x="3131058" y="1109294"/>
                </a:lnTo>
                <a:lnTo>
                  <a:pt x="3174301" y="1121181"/>
                </a:lnTo>
                <a:lnTo>
                  <a:pt x="3219234" y="1128496"/>
                </a:lnTo>
                <a:lnTo>
                  <a:pt x="3265627" y="1130998"/>
                </a:lnTo>
                <a:lnTo>
                  <a:pt x="3316440" y="1127988"/>
                </a:lnTo>
                <a:lnTo>
                  <a:pt x="3365500" y="1119212"/>
                </a:lnTo>
                <a:lnTo>
                  <a:pt x="3412426" y="1105001"/>
                </a:lnTo>
                <a:lnTo>
                  <a:pt x="3456902" y="1085697"/>
                </a:lnTo>
                <a:lnTo>
                  <a:pt x="3498583" y="1061656"/>
                </a:lnTo>
                <a:lnTo>
                  <a:pt x="3537115" y="1033208"/>
                </a:lnTo>
                <a:lnTo>
                  <a:pt x="3572167" y="1000696"/>
                </a:lnTo>
                <a:lnTo>
                  <a:pt x="3603383" y="964463"/>
                </a:lnTo>
                <a:lnTo>
                  <a:pt x="3502583" y="887107"/>
                </a:lnTo>
                <a:lnTo>
                  <a:pt x="3472764" y="920432"/>
                </a:lnTo>
                <a:lnTo>
                  <a:pt x="3438321" y="948969"/>
                </a:lnTo>
                <a:lnTo>
                  <a:pt x="3399815" y="972159"/>
                </a:lnTo>
                <a:lnTo>
                  <a:pt x="3357816" y="989431"/>
                </a:lnTo>
                <a:lnTo>
                  <a:pt x="3312896" y="1000213"/>
                </a:lnTo>
                <a:lnTo>
                  <a:pt x="3265627" y="1003935"/>
                </a:lnTo>
                <a:lnTo>
                  <a:pt x="3217176" y="1000023"/>
                </a:lnTo>
                <a:lnTo>
                  <a:pt x="3171228" y="988707"/>
                </a:lnTo>
                <a:lnTo>
                  <a:pt x="3128365" y="970597"/>
                </a:lnTo>
                <a:lnTo>
                  <a:pt x="3089237" y="946315"/>
                </a:lnTo>
                <a:lnTo>
                  <a:pt x="3054439" y="916457"/>
                </a:lnTo>
                <a:lnTo>
                  <a:pt x="3024581" y="881659"/>
                </a:lnTo>
                <a:lnTo>
                  <a:pt x="3000298" y="842530"/>
                </a:lnTo>
                <a:lnTo>
                  <a:pt x="2982176" y="799680"/>
                </a:lnTo>
                <a:lnTo>
                  <a:pt x="2970860" y="753719"/>
                </a:lnTo>
                <a:lnTo>
                  <a:pt x="2966961" y="705281"/>
                </a:lnTo>
                <a:lnTo>
                  <a:pt x="2970860" y="656831"/>
                </a:lnTo>
                <a:lnTo>
                  <a:pt x="2982176" y="610882"/>
                </a:lnTo>
                <a:lnTo>
                  <a:pt x="3000298" y="568032"/>
                </a:lnTo>
                <a:lnTo>
                  <a:pt x="3024581" y="528891"/>
                </a:lnTo>
                <a:lnTo>
                  <a:pt x="3054439" y="494093"/>
                </a:lnTo>
                <a:lnTo>
                  <a:pt x="3089237" y="464235"/>
                </a:lnTo>
                <a:lnTo>
                  <a:pt x="3128365" y="439953"/>
                </a:lnTo>
                <a:lnTo>
                  <a:pt x="3171228" y="421843"/>
                </a:lnTo>
                <a:lnTo>
                  <a:pt x="3217176" y="410527"/>
                </a:lnTo>
                <a:lnTo>
                  <a:pt x="3265627" y="406615"/>
                </a:lnTo>
                <a:lnTo>
                  <a:pt x="3316846" y="410984"/>
                </a:lnTo>
                <a:lnTo>
                  <a:pt x="3365296" y="423608"/>
                </a:lnTo>
                <a:lnTo>
                  <a:pt x="3410242" y="443750"/>
                </a:lnTo>
                <a:lnTo>
                  <a:pt x="3450920" y="470687"/>
                </a:lnTo>
                <a:lnTo>
                  <a:pt x="3486594" y="503707"/>
                </a:lnTo>
                <a:lnTo>
                  <a:pt x="3516503" y="542048"/>
                </a:lnTo>
                <a:lnTo>
                  <a:pt x="3539896" y="585012"/>
                </a:lnTo>
                <a:lnTo>
                  <a:pt x="3556050" y="631863"/>
                </a:lnTo>
                <a:lnTo>
                  <a:pt x="3241192" y="631863"/>
                </a:lnTo>
                <a:lnTo>
                  <a:pt x="3241192" y="758913"/>
                </a:lnTo>
                <a:lnTo>
                  <a:pt x="3685883" y="758913"/>
                </a:lnTo>
                <a:lnTo>
                  <a:pt x="3685883" y="631863"/>
                </a:lnTo>
                <a:close/>
              </a:path>
              <a:path w="6922134" h="1153160">
                <a:moveTo>
                  <a:pt x="4434929" y="820381"/>
                </a:moveTo>
                <a:lnTo>
                  <a:pt x="4432147" y="770496"/>
                </a:lnTo>
                <a:lnTo>
                  <a:pt x="3939159" y="565873"/>
                </a:lnTo>
                <a:lnTo>
                  <a:pt x="3950297" y="528053"/>
                </a:lnTo>
                <a:lnTo>
                  <a:pt x="3970921" y="491274"/>
                </a:lnTo>
                <a:lnTo>
                  <a:pt x="3999484" y="458139"/>
                </a:lnTo>
                <a:lnTo>
                  <a:pt x="4034472" y="431253"/>
                </a:lnTo>
                <a:lnTo>
                  <a:pt x="4074376" y="413207"/>
                </a:lnTo>
                <a:lnTo>
                  <a:pt x="4117657" y="406615"/>
                </a:lnTo>
                <a:lnTo>
                  <a:pt x="4216603" y="429564"/>
                </a:lnTo>
                <a:lnTo>
                  <a:pt x="4271696" y="480047"/>
                </a:lnTo>
                <a:lnTo>
                  <a:pt x="4295533" y="530542"/>
                </a:lnTo>
                <a:lnTo>
                  <a:pt x="4300690" y="553478"/>
                </a:lnTo>
                <a:lnTo>
                  <a:pt x="4427867" y="521970"/>
                </a:lnTo>
                <a:lnTo>
                  <a:pt x="4399178" y="381825"/>
                </a:lnTo>
                <a:lnTo>
                  <a:pt x="4357052" y="309867"/>
                </a:lnTo>
                <a:lnTo>
                  <a:pt x="4272216" y="283349"/>
                </a:lnTo>
                <a:lnTo>
                  <a:pt x="4115346" y="279565"/>
                </a:lnTo>
                <a:lnTo>
                  <a:pt x="4062971" y="284022"/>
                </a:lnTo>
                <a:lnTo>
                  <a:pt x="4014508" y="296722"/>
                </a:lnTo>
                <a:lnTo>
                  <a:pt x="3970337" y="316699"/>
                </a:lnTo>
                <a:lnTo>
                  <a:pt x="3930827" y="342988"/>
                </a:lnTo>
                <a:lnTo>
                  <a:pt x="3896372" y="374611"/>
                </a:lnTo>
                <a:lnTo>
                  <a:pt x="3867340" y="410591"/>
                </a:lnTo>
                <a:lnTo>
                  <a:pt x="3844112" y="449961"/>
                </a:lnTo>
                <a:lnTo>
                  <a:pt x="3827043" y="491744"/>
                </a:lnTo>
                <a:lnTo>
                  <a:pt x="3816527" y="534974"/>
                </a:lnTo>
                <a:lnTo>
                  <a:pt x="3812946" y="578662"/>
                </a:lnTo>
                <a:lnTo>
                  <a:pt x="3813429" y="605129"/>
                </a:lnTo>
                <a:lnTo>
                  <a:pt x="3814483" y="630047"/>
                </a:lnTo>
                <a:lnTo>
                  <a:pt x="3816019" y="655802"/>
                </a:lnTo>
                <a:lnTo>
                  <a:pt x="4312196" y="839241"/>
                </a:lnTo>
                <a:lnTo>
                  <a:pt x="4305287" y="883462"/>
                </a:lnTo>
                <a:lnTo>
                  <a:pt x="4285843" y="922921"/>
                </a:lnTo>
                <a:lnTo>
                  <a:pt x="4255808" y="956170"/>
                </a:lnTo>
                <a:lnTo>
                  <a:pt x="4217162" y="981735"/>
                </a:lnTo>
                <a:lnTo>
                  <a:pt x="4171835" y="998143"/>
                </a:lnTo>
                <a:lnTo>
                  <a:pt x="4121772" y="1003935"/>
                </a:lnTo>
                <a:lnTo>
                  <a:pt x="4025646" y="979932"/>
                </a:lnTo>
                <a:lnTo>
                  <a:pt x="3970921" y="927112"/>
                </a:lnTo>
                <a:lnTo>
                  <a:pt x="3946334" y="874293"/>
                </a:lnTo>
                <a:lnTo>
                  <a:pt x="3940645" y="850277"/>
                </a:lnTo>
                <a:lnTo>
                  <a:pt x="3814965" y="883793"/>
                </a:lnTo>
                <a:lnTo>
                  <a:pt x="3844975" y="1026706"/>
                </a:lnTo>
                <a:lnTo>
                  <a:pt x="3887178" y="1100099"/>
                </a:lnTo>
                <a:lnTo>
                  <a:pt x="3970553" y="1127137"/>
                </a:lnTo>
                <a:lnTo>
                  <a:pt x="4124083" y="1130998"/>
                </a:lnTo>
                <a:lnTo>
                  <a:pt x="4175087" y="1127201"/>
                </a:lnTo>
                <a:lnTo>
                  <a:pt x="4222077" y="1116291"/>
                </a:lnTo>
                <a:lnTo>
                  <a:pt x="4264863" y="1099032"/>
                </a:lnTo>
                <a:lnTo>
                  <a:pt x="4303280" y="1076134"/>
                </a:lnTo>
                <a:lnTo>
                  <a:pt x="4337151" y="1048359"/>
                </a:lnTo>
                <a:lnTo>
                  <a:pt x="4366285" y="1016431"/>
                </a:lnTo>
                <a:lnTo>
                  <a:pt x="4390529" y="981087"/>
                </a:lnTo>
                <a:lnTo>
                  <a:pt x="4409694" y="943076"/>
                </a:lnTo>
                <a:lnTo>
                  <a:pt x="4423600" y="903122"/>
                </a:lnTo>
                <a:lnTo>
                  <a:pt x="4432071" y="861974"/>
                </a:lnTo>
                <a:lnTo>
                  <a:pt x="4434929" y="820381"/>
                </a:lnTo>
                <a:close/>
              </a:path>
              <a:path w="6922134" h="1153160">
                <a:moveTo>
                  <a:pt x="5404561" y="298259"/>
                </a:moveTo>
                <a:lnTo>
                  <a:pt x="5277497" y="298259"/>
                </a:lnTo>
                <a:lnTo>
                  <a:pt x="5277497" y="400329"/>
                </a:lnTo>
                <a:lnTo>
                  <a:pt x="5242966" y="370116"/>
                </a:lnTo>
                <a:lnTo>
                  <a:pt x="5205298" y="343712"/>
                </a:lnTo>
                <a:lnTo>
                  <a:pt x="5164798" y="321424"/>
                </a:lnTo>
                <a:lnTo>
                  <a:pt x="5121757" y="303568"/>
                </a:lnTo>
                <a:lnTo>
                  <a:pt x="5076507" y="290436"/>
                </a:lnTo>
                <a:lnTo>
                  <a:pt x="5029327" y="282321"/>
                </a:lnTo>
                <a:lnTo>
                  <a:pt x="4980521" y="279552"/>
                </a:lnTo>
                <a:lnTo>
                  <a:pt x="4934140" y="282054"/>
                </a:lnTo>
                <a:lnTo>
                  <a:pt x="4889195" y="289369"/>
                </a:lnTo>
                <a:lnTo>
                  <a:pt x="4845964" y="301256"/>
                </a:lnTo>
                <a:lnTo>
                  <a:pt x="4804689" y="317449"/>
                </a:lnTo>
                <a:lnTo>
                  <a:pt x="4765649" y="337680"/>
                </a:lnTo>
                <a:lnTo>
                  <a:pt x="4729099" y="361696"/>
                </a:lnTo>
                <a:lnTo>
                  <a:pt x="4695291" y="389242"/>
                </a:lnTo>
                <a:lnTo>
                  <a:pt x="4664481" y="420039"/>
                </a:lnTo>
                <a:lnTo>
                  <a:pt x="4636948" y="453847"/>
                </a:lnTo>
                <a:lnTo>
                  <a:pt x="4612932" y="490410"/>
                </a:lnTo>
                <a:lnTo>
                  <a:pt x="4592701" y="529450"/>
                </a:lnTo>
                <a:lnTo>
                  <a:pt x="4576508" y="570712"/>
                </a:lnTo>
                <a:lnTo>
                  <a:pt x="4564621" y="613956"/>
                </a:lnTo>
                <a:lnTo>
                  <a:pt x="4557306" y="658888"/>
                </a:lnTo>
                <a:lnTo>
                  <a:pt x="4554804" y="705281"/>
                </a:lnTo>
                <a:lnTo>
                  <a:pt x="4557306" y="751662"/>
                </a:lnTo>
                <a:lnTo>
                  <a:pt x="4564621" y="796607"/>
                </a:lnTo>
                <a:lnTo>
                  <a:pt x="4576508" y="839838"/>
                </a:lnTo>
                <a:lnTo>
                  <a:pt x="4592701" y="881100"/>
                </a:lnTo>
                <a:lnTo>
                  <a:pt x="4612932" y="920140"/>
                </a:lnTo>
                <a:lnTo>
                  <a:pt x="4636948" y="956703"/>
                </a:lnTo>
                <a:lnTo>
                  <a:pt x="4664481" y="990511"/>
                </a:lnTo>
                <a:lnTo>
                  <a:pt x="4695291" y="1021321"/>
                </a:lnTo>
                <a:lnTo>
                  <a:pt x="4729099" y="1048854"/>
                </a:lnTo>
                <a:lnTo>
                  <a:pt x="4765649" y="1072870"/>
                </a:lnTo>
                <a:lnTo>
                  <a:pt x="4804689" y="1093101"/>
                </a:lnTo>
                <a:lnTo>
                  <a:pt x="4845964" y="1109294"/>
                </a:lnTo>
                <a:lnTo>
                  <a:pt x="4889195" y="1121168"/>
                </a:lnTo>
                <a:lnTo>
                  <a:pt x="4934140" y="1128496"/>
                </a:lnTo>
                <a:lnTo>
                  <a:pt x="4980521" y="1130998"/>
                </a:lnTo>
                <a:lnTo>
                  <a:pt x="5032324" y="1127874"/>
                </a:lnTo>
                <a:lnTo>
                  <a:pt x="5082273" y="1118755"/>
                </a:lnTo>
                <a:lnTo>
                  <a:pt x="5130012" y="1104011"/>
                </a:lnTo>
                <a:lnTo>
                  <a:pt x="5175174" y="1083983"/>
                </a:lnTo>
                <a:lnTo>
                  <a:pt x="5217401" y="1059065"/>
                </a:lnTo>
                <a:lnTo>
                  <a:pt x="5146700" y="953477"/>
                </a:lnTo>
                <a:lnTo>
                  <a:pt x="5109349" y="974801"/>
                </a:lnTo>
                <a:lnTo>
                  <a:pt x="5068862" y="990663"/>
                </a:lnTo>
                <a:lnTo>
                  <a:pt x="5025758" y="1000544"/>
                </a:lnTo>
                <a:lnTo>
                  <a:pt x="4980521" y="1003947"/>
                </a:lnTo>
                <a:lnTo>
                  <a:pt x="4932083" y="1000036"/>
                </a:lnTo>
                <a:lnTo>
                  <a:pt x="4886122" y="988720"/>
                </a:lnTo>
                <a:lnTo>
                  <a:pt x="4843272" y="970610"/>
                </a:lnTo>
                <a:lnTo>
                  <a:pt x="4804143" y="946315"/>
                </a:lnTo>
                <a:lnTo>
                  <a:pt x="4769332" y="916470"/>
                </a:lnTo>
                <a:lnTo>
                  <a:pt x="4739487" y="881659"/>
                </a:lnTo>
                <a:lnTo>
                  <a:pt x="4715205" y="842530"/>
                </a:lnTo>
                <a:lnTo>
                  <a:pt x="4697095" y="799680"/>
                </a:lnTo>
                <a:lnTo>
                  <a:pt x="4685779" y="753719"/>
                </a:lnTo>
                <a:lnTo>
                  <a:pt x="4681867" y="705281"/>
                </a:lnTo>
                <a:lnTo>
                  <a:pt x="4685779" y="656831"/>
                </a:lnTo>
                <a:lnTo>
                  <a:pt x="4697095" y="610882"/>
                </a:lnTo>
                <a:lnTo>
                  <a:pt x="4715205" y="568032"/>
                </a:lnTo>
                <a:lnTo>
                  <a:pt x="4739487" y="528891"/>
                </a:lnTo>
                <a:lnTo>
                  <a:pt x="4769332" y="494093"/>
                </a:lnTo>
                <a:lnTo>
                  <a:pt x="4804143" y="464235"/>
                </a:lnTo>
                <a:lnTo>
                  <a:pt x="4843272" y="439953"/>
                </a:lnTo>
                <a:lnTo>
                  <a:pt x="4886122" y="421843"/>
                </a:lnTo>
                <a:lnTo>
                  <a:pt x="4932083" y="410527"/>
                </a:lnTo>
                <a:lnTo>
                  <a:pt x="4980521" y="406615"/>
                </a:lnTo>
                <a:lnTo>
                  <a:pt x="5030813" y="410832"/>
                </a:lnTo>
                <a:lnTo>
                  <a:pt x="5078387" y="423011"/>
                </a:lnTo>
                <a:lnTo>
                  <a:pt x="5122557" y="442480"/>
                </a:lnTo>
                <a:lnTo>
                  <a:pt x="5162626" y="468553"/>
                </a:lnTo>
                <a:lnTo>
                  <a:pt x="5197932" y="500507"/>
                </a:lnTo>
                <a:lnTo>
                  <a:pt x="5227752" y="537692"/>
                </a:lnTo>
                <a:lnTo>
                  <a:pt x="5251412" y="579386"/>
                </a:lnTo>
                <a:lnTo>
                  <a:pt x="5268226" y="624916"/>
                </a:lnTo>
                <a:lnTo>
                  <a:pt x="5277497" y="673595"/>
                </a:lnTo>
                <a:lnTo>
                  <a:pt x="5277497" y="1118082"/>
                </a:lnTo>
                <a:lnTo>
                  <a:pt x="5404561" y="1118082"/>
                </a:lnTo>
                <a:lnTo>
                  <a:pt x="5404561" y="298259"/>
                </a:lnTo>
                <a:close/>
              </a:path>
              <a:path w="6922134" h="1153160">
                <a:moveTo>
                  <a:pt x="6474777" y="838352"/>
                </a:moveTo>
                <a:lnTo>
                  <a:pt x="6384925" y="748499"/>
                </a:lnTo>
                <a:lnTo>
                  <a:pt x="6070676" y="1062748"/>
                </a:lnTo>
                <a:lnTo>
                  <a:pt x="6160528" y="1152601"/>
                </a:lnTo>
                <a:lnTo>
                  <a:pt x="6474777" y="838352"/>
                </a:lnTo>
                <a:close/>
              </a:path>
              <a:path w="6922134" h="1153160">
                <a:moveTo>
                  <a:pt x="6474777" y="615886"/>
                </a:moveTo>
                <a:lnTo>
                  <a:pt x="6160528" y="301637"/>
                </a:lnTo>
                <a:lnTo>
                  <a:pt x="6070676" y="391477"/>
                </a:lnTo>
                <a:lnTo>
                  <a:pt x="6384938" y="705726"/>
                </a:lnTo>
                <a:lnTo>
                  <a:pt x="6474777" y="615886"/>
                </a:lnTo>
                <a:close/>
              </a:path>
              <a:path w="6922134" h="1153160">
                <a:moveTo>
                  <a:pt x="6921640" y="1062748"/>
                </a:moveTo>
                <a:lnTo>
                  <a:pt x="6607391" y="748499"/>
                </a:lnTo>
                <a:lnTo>
                  <a:pt x="6517551" y="838352"/>
                </a:lnTo>
                <a:lnTo>
                  <a:pt x="6831800" y="1152601"/>
                </a:lnTo>
                <a:lnTo>
                  <a:pt x="6921640" y="1062748"/>
                </a:lnTo>
                <a:close/>
              </a:path>
              <a:path w="6922134" h="1153160">
                <a:moveTo>
                  <a:pt x="6921640" y="391477"/>
                </a:moveTo>
                <a:lnTo>
                  <a:pt x="6831800" y="301637"/>
                </a:lnTo>
                <a:lnTo>
                  <a:pt x="6517551" y="615886"/>
                </a:lnTo>
                <a:lnTo>
                  <a:pt x="6607391" y="705726"/>
                </a:lnTo>
                <a:lnTo>
                  <a:pt x="6921640" y="3914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2393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057A1E60-5686-CC67-7E2D-6C32DDB359A9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3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9" r="6329"/>
          <a:stretch/>
        </p:blipFill>
        <p:spPr>
          <a:xfrm>
            <a:off x="27336501" y="0"/>
            <a:ext cx="26424186" cy="20104100"/>
          </a:xfrm>
          <a:prstGeom prst="parallelogram">
            <a:avLst>
              <a:gd name="adj" fmla="val 14854"/>
            </a:avLst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3C4981B3-D56C-BB4A-51A1-8DEF8D70EEDC}"/>
              </a:ext>
            </a:extLst>
          </p:cNvPr>
          <p:cNvSpPr/>
          <p:nvPr/>
        </p:nvSpPr>
        <p:spPr>
          <a:xfrm>
            <a:off x="124718" y="4139878"/>
            <a:ext cx="20768919" cy="54813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5277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959911"/>
              </p:ext>
            </p:extLst>
          </p:nvPr>
        </p:nvGraphicFramePr>
        <p:xfrm>
          <a:off x="6398" y="6219"/>
          <a:ext cx="6206" cy="62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6" imgW="381" imgH="381" progId="TCLayout.ActiveDocument.1">
                  <p:embed/>
                </p:oleObj>
              </mc:Choice>
              <mc:Fallback>
                <p:oleObj name="Diapositiva de think-cell" r:id="rId6" imgW="381" imgH="381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398" y="6219"/>
                        <a:ext cx="6206" cy="62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7" name="Título 1">
            <a:extLst>
              <a:ext uri="{FF2B5EF4-FFF2-40B4-BE49-F238E27FC236}">
                <a16:creationId xmlns:a16="http://schemas.microsoft.com/office/drawing/2014/main" id="{D7CEE544-DB2F-4790-B663-B7AFEBC70436}"/>
              </a:ext>
            </a:extLst>
          </p:cNvPr>
          <p:cNvSpPr txBox="1">
            <a:spLocks/>
          </p:cNvSpPr>
          <p:nvPr/>
        </p:nvSpPr>
        <p:spPr>
          <a:xfrm>
            <a:off x="1055509" y="811428"/>
            <a:ext cx="23570718" cy="1217280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a-ES" sz="7036" b="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la d'actuacions
</a:t>
            </a:r>
          </a:p>
        </p:txBody>
      </p:sp>
      <p:sp>
        <p:nvSpPr>
          <p:cNvPr id="248" name="Marcador de texto 6">
            <a:extLst>
              <a:ext uri="{FF2B5EF4-FFF2-40B4-BE49-F238E27FC236}">
                <a16:creationId xmlns:a16="http://schemas.microsoft.com/office/drawing/2014/main" id="{6AACE719-C62D-45B1-8D20-924CB1A90C80}"/>
              </a:ext>
            </a:extLst>
          </p:cNvPr>
          <p:cNvSpPr txBox="1">
            <a:spLocks/>
          </p:cNvSpPr>
          <p:nvPr/>
        </p:nvSpPr>
        <p:spPr>
          <a:xfrm>
            <a:off x="1055504" y="1927551"/>
            <a:ext cx="30442268" cy="1109660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venir Book" panose="02000503020000020003" pitchFamily="2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venir Book" panose="02000503020000020003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venir Book" panose="02000503020000020003" pitchFamily="2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venir Book" panose="02000503020000020003" pitchFamily="2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venir Book" panose="02000503020000020003" pitchFamily="2" charset="0"/>
              <a:buChar char="–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a-ES" sz="4690" b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ET ZERO TOOL BOX: La nostra "Caixa d'eines" de solucions
</a:t>
            </a:r>
          </a:p>
        </p:txBody>
      </p:sp>
      <p:sp>
        <p:nvSpPr>
          <p:cNvPr id="74" name="Elipse 73">
            <a:extLst>
              <a:ext uri="{FF2B5EF4-FFF2-40B4-BE49-F238E27FC236}">
                <a16:creationId xmlns:a16="http://schemas.microsoft.com/office/drawing/2014/main" id="{A0C78BCF-23DB-485D-AA3D-CC8699F56354}"/>
              </a:ext>
            </a:extLst>
          </p:cNvPr>
          <p:cNvSpPr>
            <a:spLocks noChangeAspect="1"/>
          </p:cNvSpPr>
          <p:nvPr/>
        </p:nvSpPr>
        <p:spPr>
          <a:xfrm>
            <a:off x="18752025" y="16111487"/>
            <a:ext cx="1371933" cy="137193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5280"/>
          </a:p>
        </p:txBody>
      </p:sp>
      <p:sp>
        <p:nvSpPr>
          <p:cNvPr id="75" name="Marcador de número de diapositiva 3">
            <a:extLst>
              <a:ext uri="{FF2B5EF4-FFF2-40B4-BE49-F238E27FC236}">
                <a16:creationId xmlns:a16="http://schemas.microsoft.com/office/drawing/2014/main" id="{42BD3365-FA22-4336-A5A8-9197BDE59749}"/>
              </a:ext>
            </a:extLst>
          </p:cNvPr>
          <p:cNvSpPr txBox="1">
            <a:spLocks/>
          </p:cNvSpPr>
          <p:nvPr/>
        </p:nvSpPr>
        <p:spPr>
          <a:xfrm>
            <a:off x="31436568" y="13562027"/>
            <a:ext cx="2233789" cy="451120"/>
          </a:xfrm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1pPr>
            <a:lvl2pPr marL="457178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2pPr>
            <a:lvl3pPr marL="914355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3pPr>
            <a:lvl4pPr marL="1371532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4pPr>
            <a:lvl5pPr marL="1828709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5pPr>
            <a:lvl6pPr marL="2285886" algn="l" defTabSz="914355" rtl="0" eaLnBrk="1" latinLnBrk="0" hangingPunct="1"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6pPr>
            <a:lvl7pPr marL="2743064" algn="l" defTabSz="914355" rtl="0" eaLnBrk="1" latinLnBrk="0" hangingPunct="1"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7pPr>
            <a:lvl8pPr marL="3200240" algn="l" defTabSz="914355" rtl="0" eaLnBrk="1" latinLnBrk="0" hangingPunct="1"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8pPr>
            <a:lvl9pPr marL="3657418" algn="l" defTabSz="914355" rtl="0" eaLnBrk="1" latinLnBrk="0" hangingPunct="1">
              <a:defRPr sz="1400" b="1" kern="1200">
                <a:solidFill>
                  <a:schemeClr val="accent2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2680628">
              <a:defRPr/>
            </a:pPr>
            <a:endParaRPr lang="ca-ES" sz="3128">
              <a:solidFill>
                <a:srgbClr val="461E7D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7" name="Rectángulo 86">
            <a:extLst>
              <a:ext uri="{FF2B5EF4-FFF2-40B4-BE49-F238E27FC236}">
                <a16:creationId xmlns:a16="http://schemas.microsoft.com/office/drawing/2014/main" id="{6B41134E-F1E2-4F25-B88F-1E97D7B468E9}"/>
              </a:ext>
            </a:extLst>
          </p:cNvPr>
          <p:cNvSpPr/>
          <p:nvPr/>
        </p:nvSpPr>
        <p:spPr>
          <a:xfrm>
            <a:off x="193055" y="11192069"/>
            <a:ext cx="8442667" cy="2596604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533" tIns="140711" rIns="281422" bIns="140711" rtlCol="0" anchor="ctr"/>
          <a:lstStyle/>
          <a:p>
            <a:pPr algn="ctr" defTabSz="2680628">
              <a:defRPr/>
            </a:pPr>
            <a:r>
              <a:rPr lang="ca-ES" sz="4397" b="1" spc="21">
                <a:solidFill>
                  <a:schemeClr val="bg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/>
              </a:rPr>
              <a:t>Mesures d' estalvi i 
eficiència energètica</a:t>
            </a:r>
          </a:p>
        </p:txBody>
      </p:sp>
      <p:sp>
        <p:nvSpPr>
          <p:cNvPr id="88" name="Rectángulo 87">
            <a:extLst>
              <a:ext uri="{FF2B5EF4-FFF2-40B4-BE49-F238E27FC236}">
                <a16:creationId xmlns:a16="http://schemas.microsoft.com/office/drawing/2014/main" id="{9E4E1231-C841-4729-A9D7-D70CDC6EE8CF}"/>
              </a:ext>
            </a:extLst>
          </p:cNvPr>
          <p:cNvSpPr/>
          <p:nvPr/>
        </p:nvSpPr>
        <p:spPr>
          <a:xfrm>
            <a:off x="193055" y="13872612"/>
            <a:ext cx="8442667" cy="5352803"/>
          </a:xfrm>
          <a:prstGeom prst="rect">
            <a:avLst/>
          </a:prstGeom>
          <a:solidFill>
            <a:schemeClr val="bg1"/>
          </a:solidFill>
          <a:ln w="158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1422" tIns="211067" rIns="281422" bIns="140711" rtlCol="0" anchor="t"/>
          <a:lstStyle/>
          <a:p>
            <a:pPr algn="ctr" defTabSz="2680628">
              <a:defRPr/>
            </a:pPr>
            <a:r>
              <a:rPr lang="ca-ES" sz="4104" b="1">
                <a:solidFill>
                  <a:schemeClr val="tx2"/>
                </a:solidFill>
                <a:latin typeface="Arial Nova" panose="020B0504020202020204" pitchFamily="34" charset="0"/>
                <a:ea typeface="Verdana" panose="020B0604030504040204" pitchFamily="34" charset="0"/>
              </a:rPr>
              <a:t>Reducció de consum
</a:t>
            </a:r>
            <a:endParaRPr lang="ca-ES" sz="2638" b="1">
              <a:solidFill>
                <a:schemeClr val="accent3"/>
              </a:solidFill>
              <a:latin typeface="Arial Nova" panose="020B0504020202020204" pitchFamily="34" charset="0"/>
              <a:ea typeface="Verdana" panose="020B0604030504040204" pitchFamily="34" charset="0"/>
            </a:endParaRP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78F28AFC-5EF1-4F1C-B2DF-200C7316C949}"/>
              </a:ext>
            </a:extLst>
          </p:cNvPr>
          <p:cNvSpPr/>
          <p:nvPr/>
        </p:nvSpPr>
        <p:spPr>
          <a:xfrm>
            <a:off x="17592972" y="11192069"/>
            <a:ext cx="8442667" cy="2596604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1067" tIns="140711" rIns="281422" bIns="140711" rtlCol="0" anchor="ctr"/>
          <a:lstStyle/>
          <a:p>
            <a:pPr algn="ctr" defTabSz="2680628">
              <a:defRPr/>
            </a:pPr>
            <a:r>
              <a:rPr lang="ca-ES" sz="4397" b="1" spc="21">
                <a:solidFill>
                  <a:schemeClr val="bg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/>
              </a:rPr>
              <a:t>Energies Renovables, 
emmagatzematge i subministrament</a:t>
            </a: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id="{734F6B33-5DE2-44E9-94A9-D4AC843836A2}"/>
              </a:ext>
            </a:extLst>
          </p:cNvPr>
          <p:cNvSpPr/>
          <p:nvPr/>
        </p:nvSpPr>
        <p:spPr>
          <a:xfrm>
            <a:off x="17592972" y="13872612"/>
            <a:ext cx="8442667" cy="5352803"/>
          </a:xfrm>
          <a:prstGeom prst="rect">
            <a:avLst/>
          </a:prstGeom>
          <a:noFill/>
          <a:ln w="158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1422" tIns="211067" rIns="281422" bIns="140711" rtlCol="0" anchor="t"/>
          <a:lstStyle/>
          <a:p>
            <a:pPr algn="ctr" defTabSz="2680628">
              <a:defRPr/>
            </a:pPr>
            <a:r>
              <a:rPr lang="ca-ES" sz="4104" b="1">
                <a:solidFill>
                  <a:schemeClr val="tx2"/>
                </a:solidFill>
                <a:latin typeface="Arial Nova" panose="020B0504020202020204" pitchFamily="34" charset="0"/>
                <a:ea typeface="Verdana" panose="020B0604030504040204" pitchFamily="34" charset="0"/>
              </a:rPr>
              <a:t>Autoconsum o gestió d' origen del subministrament
</a:t>
            </a:r>
          </a:p>
        </p:txBody>
      </p:sp>
      <p:sp>
        <p:nvSpPr>
          <p:cNvPr id="91" name="Rectángulo 90">
            <a:extLst>
              <a:ext uri="{FF2B5EF4-FFF2-40B4-BE49-F238E27FC236}">
                <a16:creationId xmlns:a16="http://schemas.microsoft.com/office/drawing/2014/main" id="{16315442-517B-419D-B01D-5F2D6B3D39CF}"/>
              </a:ext>
            </a:extLst>
          </p:cNvPr>
          <p:cNvSpPr/>
          <p:nvPr/>
        </p:nvSpPr>
        <p:spPr>
          <a:xfrm>
            <a:off x="26292932" y="11192069"/>
            <a:ext cx="8442667" cy="2596604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533" tIns="140711" rIns="105533" bIns="140711" rtlCol="0" anchor="ctr"/>
          <a:lstStyle/>
          <a:p>
            <a:pPr algn="ctr" defTabSz="2680628">
              <a:defRPr/>
            </a:pPr>
            <a:r>
              <a:rPr lang="ca-ES" sz="4397" b="1" spc="21">
                <a:solidFill>
                  <a:schemeClr val="bg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/>
              </a:rPr>
              <a:t>Mecanismes per a Compensació i captura</a:t>
            </a:r>
          </a:p>
        </p:txBody>
      </p:sp>
      <p:sp>
        <p:nvSpPr>
          <p:cNvPr id="92" name="Rectángulo 91">
            <a:extLst>
              <a:ext uri="{FF2B5EF4-FFF2-40B4-BE49-F238E27FC236}">
                <a16:creationId xmlns:a16="http://schemas.microsoft.com/office/drawing/2014/main" id="{8685593C-CD97-4717-8BB2-9EBB318F443E}"/>
              </a:ext>
            </a:extLst>
          </p:cNvPr>
          <p:cNvSpPr/>
          <p:nvPr/>
        </p:nvSpPr>
        <p:spPr>
          <a:xfrm>
            <a:off x="26292932" y="13872612"/>
            <a:ext cx="8442667" cy="5352803"/>
          </a:xfrm>
          <a:prstGeom prst="rect">
            <a:avLst/>
          </a:prstGeom>
          <a:noFill/>
          <a:ln w="158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1422" tIns="211067" rIns="281422" bIns="140711" rtlCol="0" anchor="t"/>
          <a:lstStyle/>
          <a:p>
            <a:pPr algn="ctr" defTabSz="2680628">
              <a:defRPr/>
            </a:pPr>
            <a:r>
              <a:rPr lang="ca-ES" sz="4104" b="1">
                <a:solidFill>
                  <a:schemeClr val="tx2"/>
                </a:solidFill>
                <a:latin typeface="Arial Nova" panose="020B0504020202020204" pitchFamily="34" charset="0"/>
                <a:ea typeface="Verdana" panose="020B0604030504040204" pitchFamily="34" charset="0"/>
              </a:rPr>
              <a:t>Assessorament en estratègies de compensació i captura
</a:t>
            </a:r>
          </a:p>
        </p:txBody>
      </p:sp>
      <p:sp>
        <p:nvSpPr>
          <p:cNvPr id="94" name="Rectángulo 93">
            <a:extLst>
              <a:ext uri="{FF2B5EF4-FFF2-40B4-BE49-F238E27FC236}">
                <a16:creationId xmlns:a16="http://schemas.microsoft.com/office/drawing/2014/main" id="{9A0E4F4B-DB4D-4B41-B694-0891C41D170F}"/>
              </a:ext>
            </a:extLst>
          </p:cNvPr>
          <p:cNvSpPr/>
          <p:nvPr/>
        </p:nvSpPr>
        <p:spPr>
          <a:xfrm>
            <a:off x="8893012" y="11192069"/>
            <a:ext cx="8442667" cy="2596604"/>
          </a:xfrm>
          <a:prstGeom prst="rect">
            <a:avLst/>
          </a:prstGeom>
          <a:solidFill>
            <a:schemeClr val="tx2"/>
          </a:solidFill>
          <a:ln w="127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1422" tIns="140711" rIns="281422" bIns="140711" rtlCol="0" anchor="ctr"/>
          <a:lstStyle/>
          <a:p>
            <a:pPr algn="ctr" defTabSz="2680628">
              <a:defRPr/>
            </a:pPr>
            <a:r>
              <a:rPr lang="ca-ES" sz="4397" b="1" spc="21">
                <a:solidFill>
                  <a:schemeClr val="bg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/>
              </a:rPr>
              <a:t>Canvis en fonts 
energètiques</a:t>
            </a:r>
          </a:p>
        </p:txBody>
      </p:sp>
      <p:sp>
        <p:nvSpPr>
          <p:cNvPr id="95" name="Rectángulo 94">
            <a:extLst>
              <a:ext uri="{FF2B5EF4-FFF2-40B4-BE49-F238E27FC236}">
                <a16:creationId xmlns:a16="http://schemas.microsoft.com/office/drawing/2014/main" id="{51294316-6085-4F09-A00F-353D94B4F34A}"/>
              </a:ext>
            </a:extLst>
          </p:cNvPr>
          <p:cNvSpPr/>
          <p:nvPr/>
        </p:nvSpPr>
        <p:spPr>
          <a:xfrm>
            <a:off x="8893012" y="13872612"/>
            <a:ext cx="8442667" cy="5352803"/>
          </a:xfrm>
          <a:prstGeom prst="rect">
            <a:avLst/>
          </a:prstGeom>
          <a:noFill/>
          <a:ln w="1587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1422" tIns="211067" rIns="281422" bIns="140711" rtlCol="0" anchor="t"/>
          <a:lstStyle/>
          <a:p>
            <a:pPr algn="ctr" defTabSz="2680628">
              <a:defRPr/>
            </a:pPr>
            <a:r>
              <a:rPr lang="ca-ES" sz="4104" b="1">
                <a:solidFill>
                  <a:schemeClr val="tx2"/>
                </a:solidFill>
                <a:latin typeface="Arial Nova" panose="020B0504020202020204" pitchFamily="34" charset="0"/>
                <a:ea typeface="Verdana" panose="020B0604030504040204" pitchFamily="34" charset="0"/>
              </a:rPr>
              <a:t>Canvi a fonts energètiques hipocarbòniques
</a:t>
            </a:r>
          </a:p>
        </p:txBody>
      </p:sp>
      <p:sp>
        <p:nvSpPr>
          <p:cNvPr id="96" name="Elipse 95">
            <a:extLst>
              <a:ext uri="{FF2B5EF4-FFF2-40B4-BE49-F238E27FC236}">
                <a16:creationId xmlns:a16="http://schemas.microsoft.com/office/drawing/2014/main" id="{832F614E-80C3-4CB6-B682-3385D832E064}"/>
              </a:ext>
            </a:extLst>
          </p:cNvPr>
          <p:cNvSpPr>
            <a:spLocks noChangeAspect="1"/>
          </p:cNvSpPr>
          <p:nvPr/>
        </p:nvSpPr>
        <p:spPr>
          <a:xfrm>
            <a:off x="7620187" y="10659482"/>
            <a:ext cx="1371933" cy="1371933"/>
          </a:xfrm>
          <a:prstGeom prst="ellipse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680628">
              <a:defRPr/>
            </a:pPr>
            <a:r>
              <a:rPr lang="ca-ES" sz="5863" b="1">
                <a:solidFill>
                  <a:schemeClr val="accent3"/>
                </a:solidFill>
                <a:latin typeface="Arial Nova" panose="020B0504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98" name="Elipse 97">
            <a:extLst>
              <a:ext uri="{FF2B5EF4-FFF2-40B4-BE49-F238E27FC236}">
                <a16:creationId xmlns:a16="http://schemas.microsoft.com/office/drawing/2014/main" id="{340911AC-451C-4DAA-8278-4F0567CFE25E}"/>
              </a:ext>
            </a:extLst>
          </p:cNvPr>
          <p:cNvSpPr>
            <a:spLocks noChangeAspect="1"/>
          </p:cNvSpPr>
          <p:nvPr/>
        </p:nvSpPr>
        <p:spPr>
          <a:xfrm>
            <a:off x="16154146" y="10659482"/>
            <a:ext cx="1371933" cy="1371933"/>
          </a:xfrm>
          <a:prstGeom prst="ellipse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5863" b="1">
                <a:solidFill>
                  <a:schemeClr val="accent3"/>
                </a:solidFill>
                <a:latin typeface="Arial Nova" panose="020B0504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99" name="CuadroTexto 98">
            <a:extLst>
              <a:ext uri="{FF2B5EF4-FFF2-40B4-BE49-F238E27FC236}">
                <a16:creationId xmlns:a16="http://schemas.microsoft.com/office/drawing/2014/main" id="{49B4482F-F186-4576-8034-B4B7D2E74F38}"/>
              </a:ext>
            </a:extLst>
          </p:cNvPr>
          <p:cNvSpPr txBox="1"/>
          <p:nvPr/>
        </p:nvSpPr>
        <p:spPr>
          <a:xfrm rot="16200000">
            <a:off x="-1857739" y="6687012"/>
            <a:ext cx="53675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2680628">
              <a:defRPr/>
            </a:pPr>
            <a:r>
              <a:rPr lang="ca-ES" sz="5400" b="1">
                <a:solidFill>
                  <a:schemeClr val="tx2"/>
                </a:solidFill>
                <a:latin typeface="Roobert ENEL" panose="00000500000000000000"/>
                <a:ea typeface="Verdana" panose="020B0604030504040204" pitchFamily="34" charset="0"/>
              </a:rPr>
              <a:t>Emissionns</a:t>
            </a:r>
          </a:p>
        </p:txBody>
      </p:sp>
      <p:sp>
        <p:nvSpPr>
          <p:cNvPr id="100" name="Rectángulo 99">
            <a:extLst>
              <a:ext uri="{FF2B5EF4-FFF2-40B4-BE49-F238E27FC236}">
                <a16:creationId xmlns:a16="http://schemas.microsoft.com/office/drawing/2014/main" id="{21D90C69-4383-4825-9212-86C0684B8EBE}"/>
              </a:ext>
            </a:extLst>
          </p:cNvPr>
          <p:cNvSpPr/>
          <p:nvPr/>
        </p:nvSpPr>
        <p:spPr>
          <a:xfrm>
            <a:off x="17633758" y="17536741"/>
            <a:ext cx="8695519" cy="1445973"/>
          </a:xfrm>
          <a:prstGeom prst="rect">
            <a:avLst/>
          </a:prstGeom>
        </p:spPr>
        <p:txBody>
          <a:bodyPr wrap="square" lIns="211067" rIns="211067">
            <a:spAutoFit/>
          </a:bodyPr>
          <a:lstStyle/>
          <a:p>
            <a:pPr marL="521221" indent="-251303">
              <a:buClr>
                <a:srgbClr val="FD6600"/>
              </a:buClr>
              <a:buFont typeface="Wingdings" panose="05000000000000000000" pitchFamily="2" charset="2"/>
              <a:buChar char="§"/>
              <a:tabLst>
                <a:tab pos="274573" algn="l"/>
              </a:tabLst>
              <a:defRPr/>
            </a:pPr>
            <a:r>
              <a:rPr lang="ca-ES" sz="2932" spc="15">
                <a:latin typeface="Arial Nova" panose="020B0504020202020204" pitchFamily="34" charset="0"/>
                <a:ea typeface="Verdana" panose="020B0604030504040204" pitchFamily="34" charset="0"/>
                <a:cs typeface="Arial"/>
              </a:rPr>
              <a:t>Autoconsum, PPA, emmagatzematge.
Instal·lacions elèctriques
Subministrament amb garantia origen (GdO)</a:t>
            </a:r>
          </a:p>
        </p:txBody>
      </p:sp>
      <p:sp>
        <p:nvSpPr>
          <p:cNvPr id="101" name="Marcador de texto 6">
            <a:extLst>
              <a:ext uri="{FF2B5EF4-FFF2-40B4-BE49-F238E27FC236}">
                <a16:creationId xmlns:a16="http://schemas.microsoft.com/office/drawing/2014/main" id="{3FD9586B-F771-4515-B102-14BC3812B096}"/>
              </a:ext>
            </a:extLst>
          </p:cNvPr>
          <p:cNvSpPr txBox="1">
            <a:spLocks/>
          </p:cNvSpPr>
          <p:nvPr/>
        </p:nvSpPr>
        <p:spPr>
          <a:xfrm>
            <a:off x="872196" y="2712429"/>
            <a:ext cx="28708851" cy="750125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venir Book" panose="02000503020000020003" pitchFamily="2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venir Book" panose="02000503020000020003" pitchFamily="2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venir Book" panose="02000503020000020003" pitchFamily="2" charset="0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venir Book" panose="02000503020000020003" pitchFamily="2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Tx/>
              <a:buFont typeface="Avenir Book" panose="02000503020000020003" pitchFamily="2" charset="0"/>
              <a:buChar char="–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ca-ES" sz="4690" b="1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2" name="Marcador de contenido 2">
            <a:extLst>
              <a:ext uri="{FF2B5EF4-FFF2-40B4-BE49-F238E27FC236}">
                <a16:creationId xmlns:a16="http://schemas.microsoft.com/office/drawing/2014/main" id="{ADB8D48B-1A09-4911-A702-957326B136C4}"/>
              </a:ext>
            </a:extLst>
          </p:cNvPr>
          <p:cNvSpPr txBox="1">
            <a:spLocks/>
          </p:cNvSpPr>
          <p:nvPr/>
        </p:nvSpPr>
        <p:spPr>
          <a:xfrm>
            <a:off x="789013" y="17769248"/>
            <a:ext cx="2318007" cy="11043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749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Font typeface="Arial"/>
              <a:buNone/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/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858226" fontAlgn="base">
              <a:lnSpc>
                <a:spcPts val="2934"/>
              </a:lnSpc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 charset="0"/>
              </a:rPr>
              <a:t>Recuperació de calor
</a:t>
            </a:r>
          </a:p>
        </p:txBody>
      </p:sp>
      <p:sp>
        <p:nvSpPr>
          <p:cNvPr id="103" name="Marcador de contenido 2">
            <a:extLst>
              <a:ext uri="{FF2B5EF4-FFF2-40B4-BE49-F238E27FC236}">
                <a16:creationId xmlns:a16="http://schemas.microsoft.com/office/drawing/2014/main" id="{CC1337B4-A241-41DD-A544-76727F137F70}"/>
              </a:ext>
            </a:extLst>
          </p:cNvPr>
          <p:cNvSpPr txBox="1">
            <a:spLocks/>
          </p:cNvSpPr>
          <p:nvPr/>
        </p:nvSpPr>
        <p:spPr>
          <a:xfrm>
            <a:off x="3318047" y="17769248"/>
            <a:ext cx="2189312" cy="11043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749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Font typeface="Arial"/>
              <a:buNone/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/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858226" fontAlgn="base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cs typeface="Arial" charset="0"/>
              </a:rPr>
              <a:t>Optimització i millor tecnologia
</a:t>
            </a:r>
          </a:p>
        </p:txBody>
      </p:sp>
      <p:sp>
        <p:nvSpPr>
          <p:cNvPr id="104" name="Marcador de contenido 2">
            <a:extLst>
              <a:ext uri="{FF2B5EF4-FFF2-40B4-BE49-F238E27FC236}">
                <a16:creationId xmlns:a16="http://schemas.microsoft.com/office/drawing/2014/main" id="{941E455F-076E-4E31-B8A4-0A849F602A2C}"/>
              </a:ext>
            </a:extLst>
          </p:cNvPr>
          <p:cNvSpPr txBox="1">
            <a:spLocks/>
          </p:cNvSpPr>
          <p:nvPr/>
        </p:nvSpPr>
        <p:spPr>
          <a:xfrm>
            <a:off x="5869198" y="17769248"/>
            <a:ext cx="2447810" cy="110433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749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Font typeface="Arial"/>
              <a:buNone/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/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858226" fontAlgn="base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cs typeface="Arial" charset="0"/>
              </a:rPr>
              <a:t>Monitoratge de consums i emissions
</a:t>
            </a:r>
          </a:p>
        </p:txBody>
      </p:sp>
      <p:sp>
        <p:nvSpPr>
          <p:cNvPr id="105" name="Marcador de contenido 2">
            <a:extLst>
              <a:ext uri="{FF2B5EF4-FFF2-40B4-BE49-F238E27FC236}">
                <a16:creationId xmlns:a16="http://schemas.microsoft.com/office/drawing/2014/main" id="{3FED02D9-7C47-41A6-8A83-CC50E04EE405}"/>
              </a:ext>
            </a:extLst>
          </p:cNvPr>
          <p:cNvSpPr txBox="1">
            <a:spLocks/>
          </p:cNvSpPr>
          <p:nvPr/>
        </p:nvSpPr>
        <p:spPr>
          <a:xfrm>
            <a:off x="15083023" y="18112912"/>
            <a:ext cx="2795121" cy="41700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749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Font typeface="Arial"/>
              <a:buNone/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/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858226" fontAlgn="base">
              <a:lnSpc>
                <a:spcPts val="1955"/>
              </a:lnSpc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cs typeface="Arial" charset="0"/>
              </a:rPr>
              <a:t>Biogàs
</a:t>
            </a:r>
          </a:p>
        </p:txBody>
      </p:sp>
      <p:sp>
        <p:nvSpPr>
          <p:cNvPr id="106" name="Marcador de contenido 2">
            <a:extLst>
              <a:ext uri="{FF2B5EF4-FFF2-40B4-BE49-F238E27FC236}">
                <a16:creationId xmlns:a16="http://schemas.microsoft.com/office/drawing/2014/main" id="{187D7803-E951-43A5-8E4E-2C061EA91AC5}"/>
              </a:ext>
            </a:extLst>
          </p:cNvPr>
          <p:cNvSpPr txBox="1">
            <a:spLocks/>
          </p:cNvSpPr>
          <p:nvPr/>
        </p:nvSpPr>
        <p:spPr>
          <a:xfrm>
            <a:off x="13096036" y="18074014"/>
            <a:ext cx="2795121" cy="49478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749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Font typeface="Arial"/>
              <a:buNone/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/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858226" fontAlgn="base">
              <a:lnSpc>
                <a:spcPts val="1955"/>
              </a:lnSpc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cs typeface="Arial" charset="0"/>
              </a:rPr>
              <a:t>Biomassa
</a:t>
            </a:r>
          </a:p>
        </p:txBody>
      </p:sp>
      <p:sp>
        <p:nvSpPr>
          <p:cNvPr id="107" name="Marcador de contenido 2">
            <a:extLst>
              <a:ext uri="{FF2B5EF4-FFF2-40B4-BE49-F238E27FC236}">
                <a16:creationId xmlns:a16="http://schemas.microsoft.com/office/drawing/2014/main" id="{AC3DC56B-CB1E-4235-BCD7-1A45B79C1D1E}"/>
              </a:ext>
            </a:extLst>
          </p:cNvPr>
          <p:cNvSpPr txBox="1">
            <a:spLocks/>
          </p:cNvSpPr>
          <p:nvPr/>
        </p:nvSpPr>
        <p:spPr>
          <a:xfrm>
            <a:off x="8724058" y="17915964"/>
            <a:ext cx="2786235" cy="81089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749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Font typeface="Arial"/>
              <a:buNone/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/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858226" fontAlgn="base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 charset="0"/>
              </a:rPr>
              <a:t>Electrificació</a:t>
            </a:r>
          </a:p>
          <a:p>
            <a:pPr algn="ctr" defTabSz="3858226" fontAlgn="base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 charset="0"/>
              </a:rPr>
              <a:t>del consum</a:t>
            </a:r>
          </a:p>
        </p:txBody>
      </p:sp>
      <p:sp>
        <p:nvSpPr>
          <p:cNvPr id="108" name="Marcador de contenido 2">
            <a:extLst>
              <a:ext uri="{FF2B5EF4-FFF2-40B4-BE49-F238E27FC236}">
                <a16:creationId xmlns:a16="http://schemas.microsoft.com/office/drawing/2014/main" id="{CBAF4720-C183-4C92-8DA9-B1D1B71161FC}"/>
              </a:ext>
            </a:extLst>
          </p:cNvPr>
          <p:cNvSpPr txBox="1">
            <a:spLocks/>
          </p:cNvSpPr>
          <p:nvPr/>
        </p:nvSpPr>
        <p:spPr>
          <a:xfrm>
            <a:off x="11185251" y="17855766"/>
            <a:ext cx="2084943" cy="9312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749" rtl="0" eaLnBrk="1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Font typeface="Arial"/>
              <a:buNone/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>
                <a:tab pos="792897" algn="l"/>
              </a:tabLst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373842" indent="-171450" algn="l" defTabSz="6857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Tx/>
              <a:buBlip>
                <a:blip r:embed="rId8"/>
              </a:buBlip>
              <a:tabLst/>
              <a:defRPr sz="1050" b="0" i="0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858226" fontAlgn="base">
              <a:spcBef>
                <a:spcPts val="0"/>
              </a:spcBef>
              <a:spcAft>
                <a:spcPts val="0"/>
              </a:spcAft>
              <a:buSzPct val="90000"/>
            </a:pPr>
            <a:r>
              <a:rPr lang="ca-ES" sz="2638" b="1">
                <a:solidFill>
                  <a:schemeClr val="tx1"/>
                </a:solidFill>
                <a:latin typeface="Arial Nova" panose="020B0504020202020204" pitchFamily="34" charset="0"/>
                <a:ea typeface="Verdana" panose="020B0604030504040204" pitchFamily="34" charset="0"/>
                <a:cs typeface="Arial" charset="0"/>
              </a:rPr>
              <a:t>Hidrogen verd
</a:t>
            </a:r>
          </a:p>
        </p:txBody>
      </p:sp>
      <p:sp>
        <p:nvSpPr>
          <p:cNvPr id="113" name="Rectángulo 112">
            <a:extLst>
              <a:ext uri="{FF2B5EF4-FFF2-40B4-BE49-F238E27FC236}">
                <a16:creationId xmlns:a16="http://schemas.microsoft.com/office/drawing/2014/main" id="{53F42FA3-C608-4261-85B0-3CB04F2BE0B5}"/>
              </a:ext>
            </a:extLst>
          </p:cNvPr>
          <p:cNvSpPr/>
          <p:nvPr/>
        </p:nvSpPr>
        <p:spPr>
          <a:xfrm>
            <a:off x="20769095" y="4139878"/>
            <a:ext cx="14971703" cy="5479106"/>
          </a:xfrm>
          <a:prstGeom prst="rect">
            <a:avLst/>
          </a:prstGeom>
          <a:solidFill>
            <a:srgbClr val="461E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680628">
              <a:defRPr/>
            </a:pPr>
            <a:endParaRPr lang="ca-ES" sz="528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4" name="Shape 139">
            <a:extLst>
              <a:ext uri="{FF2B5EF4-FFF2-40B4-BE49-F238E27FC236}">
                <a16:creationId xmlns:a16="http://schemas.microsoft.com/office/drawing/2014/main" id="{167AF7CD-0C77-4167-A07D-C0783736DE65}"/>
              </a:ext>
            </a:extLst>
          </p:cNvPr>
          <p:cNvSpPr/>
          <p:nvPr/>
        </p:nvSpPr>
        <p:spPr>
          <a:xfrm>
            <a:off x="21427686" y="4549321"/>
            <a:ext cx="13551779" cy="4645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11067" tIns="105533" rIns="211067" bIns="105533" anchor="ctr">
            <a:spAutoFit/>
          </a:bodyPr>
          <a:lstStyle>
            <a:lvl1pPr algn="l" defTabSz="550333">
              <a:lnSpc>
                <a:spcPct val="110000"/>
              </a:lnSpc>
              <a:spcBef>
                <a:spcPts val="800"/>
              </a:spcBef>
              <a:defRPr sz="2200">
                <a:solidFill>
                  <a:srgbClr val="3A3A3B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lvl1pPr>
          </a:lstStyle>
          <a:p>
            <a:pPr defTabSz="2680628">
              <a:lnSpc>
                <a:spcPct val="100000"/>
              </a:lnSpc>
              <a:spcBef>
                <a:spcPts val="0"/>
              </a:spcBef>
              <a:defRPr/>
            </a:pPr>
            <a:r>
              <a:rPr lang="ca-ES" sz="4800">
                <a:solidFill>
                  <a:schemeClr val="bg1"/>
                </a:solidFill>
                <a:latin typeface="Roobert ENEL" panose="00000500000000000000"/>
                <a:ea typeface="Verdana" panose="020B0604030504040204" pitchFamily="34" charset="0"/>
                <a:cs typeface="+mn-cs"/>
              </a:rPr>
              <a:t>Pla d' actuació consensuat amb el client, amb estratègies graduals, prioritzant actuacions de major impacte en la reducció d' emissions i millors retorns d' inversió.  Selecció entre el nostre "tool box" de solucions, i anàlisi de viabilitat de noves tecnologies.
</a:t>
            </a:r>
          </a:p>
        </p:txBody>
      </p:sp>
      <p:pic>
        <p:nvPicPr>
          <p:cNvPr id="115" name="Imagen 114">
            <a:hlinkClick r:id="" action="ppaction://noaction"/>
            <a:extLst>
              <a:ext uri="{FF2B5EF4-FFF2-40B4-BE49-F238E27FC236}">
                <a16:creationId xmlns:a16="http://schemas.microsoft.com/office/drawing/2014/main" id="{F516377F-37A3-4876-A966-A01FA7C26D5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72751" y="16120551"/>
            <a:ext cx="1435177" cy="1445144"/>
          </a:xfrm>
          <a:prstGeom prst="rect">
            <a:avLst/>
          </a:prstGeom>
        </p:spPr>
      </p:pic>
      <p:pic>
        <p:nvPicPr>
          <p:cNvPr id="116" name="Imagen 115">
            <a:hlinkClick r:id="" action="ppaction://noaction"/>
            <a:extLst>
              <a:ext uri="{FF2B5EF4-FFF2-40B4-BE49-F238E27FC236}">
                <a16:creationId xmlns:a16="http://schemas.microsoft.com/office/drawing/2014/main" id="{0936FE3E-F0DC-4DFC-B43D-F64587BC18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7303" y="15157459"/>
            <a:ext cx="1451189" cy="2428727"/>
          </a:xfrm>
          <a:prstGeom prst="rect">
            <a:avLst/>
          </a:prstGeom>
        </p:spPr>
      </p:pic>
      <p:pic>
        <p:nvPicPr>
          <p:cNvPr id="117" name="Imagen 116">
            <a:hlinkClick r:id="" action="ppaction://noaction"/>
            <a:extLst>
              <a:ext uri="{FF2B5EF4-FFF2-40B4-BE49-F238E27FC236}">
                <a16:creationId xmlns:a16="http://schemas.microsoft.com/office/drawing/2014/main" id="{5D333C71-2C14-47EF-B32F-138AF6E8FEA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761461" y="16123784"/>
            <a:ext cx="1435177" cy="1445144"/>
          </a:xfrm>
          <a:prstGeom prst="rect">
            <a:avLst/>
          </a:prstGeom>
        </p:spPr>
      </p:pic>
      <p:pic>
        <p:nvPicPr>
          <p:cNvPr id="118" name="Imagen 117">
            <a:hlinkClick r:id="" action="ppaction://noaction"/>
            <a:extLst>
              <a:ext uri="{FF2B5EF4-FFF2-40B4-BE49-F238E27FC236}">
                <a16:creationId xmlns:a16="http://schemas.microsoft.com/office/drawing/2014/main" id="{C93D0425-53CC-49F2-A13B-395C23152E2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291294" y="16112363"/>
            <a:ext cx="1978900" cy="1635198"/>
          </a:xfrm>
          <a:prstGeom prst="rect">
            <a:avLst/>
          </a:prstGeom>
        </p:spPr>
      </p:pic>
      <p:pic>
        <p:nvPicPr>
          <p:cNvPr id="119" name="Imagen 118">
            <a:hlinkClick r:id="" action="ppaction://noaction"/>
            <a:extLst>
              <a:ext uri="{FF2B5EF4-FFF2-40B4-BE49-F238E27FC236}">
                <a16:creationId xmlns:a16="http://schemas.microsoft.com/office/drawing/2014/main" id="{850FFF7D-B328-47EB-BC69-3A92024BB3F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189226" y="16058723"/>
            <a:ext cx="1850633" cy="1606053"/>
          </a:xfrm>
          <a:prstGeom prst="rect">
            <a:avLst/>
          </a:prstGeom>
        </p:spPr>
      </p:pic>
      <p:pic>
        <p:nvPicPr>
          <p:cNvPr id="120" name="Imagen 119">
            <a:hlinkClick r:id="" action="ppaction://noaction"/>
            <a:extLst>
              <a:ext uri="{FF2B5EF4-FFF2-40B4-BE49-F238E27FC236}">
                <a16:creationId xmlns:a16="http://schemas.microsoft.com/office/drawing/2014/main" id="{7EBC26B3-1384-4DB6-962A-B43802F8F03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585153" y="16093697"/>
            <a:ext cx="1461845" cy="1471999"/>
          </a:xfrm>
          <a:prstGeom prst="rect">
            <a:avLst/>
          </a:prstGeom>
        </p:spPr>
      </p:pic>
      <p:pic>
        <p:nvPicPr>
          <p:cNvPr id="121" name="Imagen 120">
            <a:hlinkClick r:id="" action="ppaction://noaction"/>
            <a:extLst>
              <a:ext uri="{FF2B5EF4-FFF2-40B4-BE49-F238E27FC236}">
                <a16:creationId xmlns:a16="http://schemas.microsoft.com/office/drawing/2014/main" id="{06C4281A-B898-40B1-8643-B96174B14A9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64784" y="16111110"/>
            <a:ext cx="1426561" cy="1436470"/>
          </a:xfrm>
          <a:prstGeom prst="rect">
            <a:avLst/>
          </a:prstGeom>
        </p:spPr>
      </p:pic>
      <p:pic>
        <p:nvPicPr>
          <p:cNvPr id="122" name="Imagen 121">
            <a:hlinkClick r:id="" action="ppaction://noaction"/>
            <a:extLst>
              <a:ext uri="{FF2B5EF4-FFF2-40B4-BE49-F238E27FC236}">
                <a16:creationId xmlns:a16="http://schemas.microsoft.com/office/drawing/2014/main" id="{BCDF833B-57A7-48B0-9F94-0A86716B3A2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599417" y="16109149"/>
            <a:ext cx="1546998" cy="1557745"/>
          </a:xfrm>
          <a:prstGeom prst="rect">
            <a:avLst/>
          </a:prstGeom>
        </p:spPr>
      </p:pic>
      <p:grpSp>
        <p:nvGrpSpPr>
          <p:cNvPr id="123" name="Grupo 122">
            <a:extLst>
              <a:ext uri="{FF2B5EF4-FFF2-40B4-BE49-F238E27FC236}">
                <a16:creationId xmlns:a16="http://schemas.microsoft.com/office/drawing/2014/main" id="{79DE0271-F4AD-4FCF-9F34-FFF4D158A37A}"/>
              </a:ext>
            </a:extLst>
          </p:cNvPr>
          <p:cNvGrpSpPr/>
          <p:nvPr/>
        </p:nvGrpSpPr>
        <p:grpSpPr>
          <a:xfrm>
            <a:off x="28146436" y="16157155"/>
            <a:ext cx="1371936" cy="1371936"/>
            <a:chOff x="9601377" y="5540439"/>
            <a:chExt cx="468001" cy="468001"/>
          </a:xfrm>
        </p:grpSpPr>
        <p:sp>
          <p:nvSpPr>
            <p:cNvPr id="124" name="Elipse 123">
              <a:extLst>
                <a:ext uri="{FF2B5EF4-FFF2-40B4-BE49-F238E27FC236}">
                  <a16:creationId xmlns:a16="http://schemas.microsoft.com/office/drawing/2014/main" id="{6135F510-F186-46D8-AC84-AC8102991851}"/>
                </a:ext>
              </a:extLst>
            </p:cNvPr>
            <p:cNvSpPr/>
            <p:nvPr/>
          </p:nvSpPr>
          <p:spPr>
            <a:xfrm>
              <a:off x="9601377" y="5540439"/>
              <a:ext cx="468001" cy="468001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a-ES" sz="5277"/>
            </a:p>
          </p:txBody>
        </p:sp>
        <p:pic>
          <p:nvPicPr>
            <p:cNvPr id="126" name="Gráfico 125" descr="Árbol de hojas podridas con relleno sólido">
              <a:hlinkClick r:id="" action="ppaction://noaction"/>
              <a:extLst>
                <a:ext uri="{FF2B5EF4-FFF2-40B4-BE49-F238E27FC236}">
                  <a16:creationId xmlns:a16="http://schemas.microsoft.com/office/drawing/2014/main" id="{EB45F971-4A57-4809-9577-E0386CEA51C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9679051" y="5609723"/>
              <a:ext cx="334539" cy="334539"/>
            </a:xfrm>
            <a:prstGeom prst="rect">
              <a:avLst/>
            </a:prstGeom>
          </p:spPr>
        </p:pic>
      </p:grpSp>
      <p:grpSp>
        <p:nvGrpSpPr>
          <p:cNvPr id="127" name="Grupo 126">
            <a:extLst>
              <a:ext uri="{FF2B5EF4-FFF2-40B4-BE49-F238E27FC236}">
                <a16:creationId xmlns:a16="http://schemas.microsoft.com/office/drawing/2014/main" id="{32B4C21D-DC38-415C-B3C1-77D2D3A80A8F}"/>
              </a:ext>
            </a:extLst>
          </p:cNvPr>
          <p:cNvGrpSpPr/>
          <p:nvPr/>
        </p:nvGrpSpPr>
        <p:grpSpPr>
          <a:xfrm>
            <a:off x="30746709" y="16059604"/>
            <a:ext cx="2081780" cy="1469484"/>
            <a:chOff x="10488394" y="5507162"/>
            <a:chExt cx="710146" cy="501277"/>
          </a:xfrm>
        </p:grpSpPr>
        <p:sp>
          <p:nvSpPr>
            <p:cNvPr id="128" name="Elipse 127">
              <a:extLst>
                <a:ext uri="{FF2B5EF4-FFF2-40B4-BE49-F238E27FC236}">
                  <a16:creationId xmlns:a16="http://schemas.microsoft.com/office/drawing/2014/main" id="{F983FB8B-A587-47AC-8B8C-F58EC4CE0D53}"/>
                </a:ext>
              </a:extLst>
            </p:cNvPr>
            <p:cNvSpPr/>
            <p:nvPr/>
          </p:nvSpPr>
          <p:spPr>
            <a:xfrm>
              <a:off x="10622388" y="5540438"/>
              <a:ext cx="468001" cy="468001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a-ES" sz="5277"/>
            </a:p>
          </p:txBody>
        </p:sp>
        <p:pic>
          <p:nvPicPr>
            <p:cNvPr id="129" name="Gráfico 128" descr="Nube con relleno sólido">
              <a:extLst>
                <a:ext uri="{FF2B5EF4-FFF2-40B4-BE49-F238E27FC236}">
                  <a16:creationId xmlns:a16="http://schemas.microsoft.com/office/drawing/2014/main" id="{3D0BCE1E-7747-4B9E-BCFB-1E986E4F58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10622388" y="5507162"/>
              <a:ext cx="479840" cy="479840"/>
            </a:xfrm>
            <a:prstGeom prst="rect">
              <a:avLst/>
            </a:prstGeom>
          </p:spPr>
        </p:pic>
        <p:sp>
          <p:nvSpPr>
            <p:cNvPr id="130" name="Segnaposto numero diapositiva 3">
              <a:extLst>
                <a:ext uri="{FF2B5EF4-FFF2-40B4-BE49-F238E27FC236}">
                  <a16:creationId xmlns:a16="http://schemas.microsoft.com/office/drawing/2014/main" id="{46BBC9E7-C710-4759-B06B-13557EC72A0C}"/>
                </a:ext>
              </a:extLst>
            </p:cNvPr>
            <p:cNvSpPr txBox="1">
              <a:spLocks/>
            </p:cNvSpPr>
            <p:nvPr/>
          </p:nvSpPr>
          <p:spPr>
            <a:xfrm>
              <a:off x="10488394" y="5530748"/>
              <a:ext cx="710146" cy="365125"/>
            </a:xfrm>
            <a:prstGeom prst="rect">
              <a:avLst/>
            </a:prstGeom>
          </p:spPr>
          <p:txBody>
            <a:bodyPr vert="horz" lIns="0" tIns="0" rIns="0" bIns="0" rtlCol="0" anchor="b"/>
            <a:lstStyle>
              <a:defPPr>
                <a:defRPr lang="it-IT"/>
              </a:defPPr>
              <a:lvl1pPr marL="0" algn="r" defTabSz="914400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680628">
                <a:defRPr/>
              </a:pPr>
              <a:r>
                <a:rPr lang="ca-ES" sz="4104" b="1">
                  <a:solidFill>
                    <a:schemeClr val="tx2"/>
                  </a:solidFill>
                  <a:latin typeface="Arial Nova" panose="020B0504020202020204" pitchFamily="34" charset="0"/>
                  <a:cs typeface="Calibri" panose="020F0502020204030204" pitchFamily="34" charset="0"/>
                </a:rPr>
                <a:t>CO</a:t>
              </a:r>
              <a:r>
                <a:rPr lang="ca-ES" sz="2638" b="1">
                  <a:solidFill>
                    <a:schemeClr val="tx2"/>
                  </a:solidFill>
                  <a:latin typeface="Arial Nova" panose="020B0504020202020204" pitchFamily="34" charset="0"/>
                  <a:cs typeface="Calibri" panose="020F0502020204030204" pitchFamily="34" charset="0"/>
                </a:rPr>
                <a:t>2</a:t>
              </a:r>
              <a:endParaRPr lang="ca-ES" sz="4104" b="1">
                <a:solidFill>
                  <a:schemeClr val="tx2"/>
                </a:solidFill>
                <a:latin typeface="Arial Nova" panose="020B050402020202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131" name="Conector recto 130">
              <a:extLst>
                <a:ext uri="{FF2B5EF4-FFF2-40B4-BE49-F238E27FC236}">
                  <a16:creationId xmlns:a16="http://schemas.microsoft.com/office/drawing/2014/main" id="{100716CC-2F69-4CFC-8C36-898CCEBE5345}"/>
                </a:ext>
              </a:extLst>
            </p:cNvPr>
            <p:cNvCxnSpPr>
              <a:cxnSpLocks/>
            </p:cNvCxnSpPr>
            <p:nvPr/>
          </p:nvCxnSpPr>
          <p:spPr>
            <a:xfrm>
              <a:off x="10643792" y="5670628"/>
              <a:ext cx="239920" cy="2399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Conector recto 131">
              <a:extLst>
                <a:ext uri="{FF2B5EF4-FFF2-40B4-BE49-F238E27FC236}">
                  <a16:creationId xmlns:a16="http://schemas.microsoft.com/office/drawing/2014/main" id="{04485660-DEB5-4853-9980-E15EE470CB5D}"/>
                </a:ext>
              </a:extLst>
            </p:cNvPr>
            <p:cNvCxnSpPr>
              <a:cxnSpLocks/>
            </p:cNvCxnSpPr>
            <p:nvPr/>
          </p:nvCxnSpPr>
          <p:spPr>
            <a:xfrm>
              <a:off x="10701777" y="5653197"/>
              <a:ext cx="239920" cy="2399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Conector recto 132">
              <a:extLst>
                <a:ext uri="{FF2B5EF4-FFF2-40B4-BE49-F238E27FC236}">
                  <a16:creationId xmlns:a16="http://schemas.microsoft.com/office/drawing/2014/main" id="{47D636CE-AC77-4170-9446-8C1D9FAB2E61}"/>
                </a:ext>
              </a:extLst>
            </p:cNvPr>
            <p:cNvCxnSpPr>
              <a:cxnSpLocks/>
            </p:cNvCxnSpPr>
            <p:nvPr/>
          </p:nvCxnSpPr>
          <p:spPr>
            <a:xfrm>
              <a:off x="10744600" y="5632974"/>
              <a:ext cx="239920" cy="2399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ector recto 133">
              <a:extLst>
                <a:ext uri="{FF2B5EF4-FFF2-40B4-BE49-F238E27FC236}">
                  <a16:creationId xmlns:a16="http://schemas.microsoft.com/office/drawing/2014/main" id="{041ECEB2-D9B9-46A4-9CD8-B750E27E07DA}"/>
                </a:ext>
              </a:extLst>
            </p:cNvPr>
            <p:cNvCxnSpPr>
              <a:cxnSpLocks/>
            </p:cNvCxnSpPr>
            <p:nvPr/>
          </p:nvCxnSpPr>
          <p:spPr>
            <a:xfrm>
              <a:off x="10631210" y="5717674"/>
              <a:ext cx="239920" cy="23992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5" name="Imagen 134">
            <a:hlinkClick r:id="" action="ppaction://noaction"/>
            <a:extLst>
              <a:ext uri="{FF2B5EF4-FFF2-40B4-BE49-F238E27FC236}">
                <a16:creationId xmlns:a16="http://schemas.microsoft.com/office/drawing/2014/main" id="{474950B3-5489-4A30-9C85-96EA2F18580B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5478681" y="16092000"/>
            <a:ext cx="1678405" cy="1690061"/>
          </a:xfrm>
          <a:prstGeom prst="rect">
            <a:avLst/>
          </a:prstGeom>
        </p:spPr>
      </p:pic>
      <p:sp>
        <p:nvSpPr>
          <p:cNvPr id="136" name="Elipse 135">
            <a:hlinkClick r:id="" action="ppaction://noaction"/>
            <a:extLst>
              <a:ext uri="{FF2B5EF4-FFF2-40B4-BE49-F238E27FC236}">
                <a16:creationId xmlns:a16="http://schemas.microsoft.com/office/drawing/2014/main" id="{3F354145-9CB0-41A1-8B9F-33FE6110E7AA}"/>
              </a:ext>
            </a:extLst>
          </p:cNvPr>
          <p:cNvSpPr/>
          <p:nvPr/>
        </p:nvSpPr>
        <p:spPr>
          <a:xfrm>
            <a:off x="21129913" y="16120551"/>
            <a:ext cx="1445144" cy="1445144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5277"/>
          </a:p>
        </p:txBody>
      </p:sp>
      <p:pic>
        <p:nvPicPr>
          <p:cNvPr id="137" name="Gráfico 136" descr="Torre eléctrica con relleno sólido">
            <a:hlinkClick r:id="" action="ppaction://noaction"/>
            <a:extLst>
              <a:ext uri="{FF2B5EF4-FFF2-40B4-BE49-F238E27FC236}">
                <a16:creationId xmlns:a16="http://schemas.microsoft.com/office/drawing/2014/main" id="{C0C2A592-90A1-4FFB-B054-9431C10B202D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1310069" y="16214925"/>
            <a:ext cx="1121840" cy="1121840"/>
          </a:xfrm>
          <a:prstGeom prst="rect">
            <a:avLst/>
          </a:prstGeom>
        </p:spPr>
      </p:pic>
      <p:sp>
        <p:nvSpPr>
          <p:cNvPr id="93" name="Elipse 92">
            <a:extLst>
              <a:ext uri="{FF2B5EF4-FFF2-40B4-BE49-F238E27FC236}">
                <a16:creationId xmlns:a16="http://schemas.microsoft.com/office/drawing/2014/main" id="{1D59C7D8-54DD-44E3-9BD1-4961240DBE9D}"/>
              </a:ext>
            </a:extLst>
          </p:cNvPr>
          <p:cNvSpPr>
            <a:spLocks noChangeAspect="1"/>
          </p:cNvSpPr>
          <p:nvPr/>
        </p:nvSpPr>
        <p:spPr>
          <a:xfrm>
            <a:off x="33674095" y="10659482"/>
            <a:ext cx="1371933" cy="1371933"/>
          </a:xfrm>
          <a:prstGeom prst="ellipse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5863" b="1">
                <a:solidFill>
                  <a:schemeClr val="accent3"/>
                </a:solidFill>
                <a:latin typeface="Arial Nova" panose="020B0504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97" name="Elipse 96">
            <a:extLst>
              <a:ext uri="{FF2B5EF4-FFF2-40B4-BE49-F238E27FC236}">
                <a16:creationId xmlns:a16="http://schemas.microsoft.com/office/drawing/2014/main" id="{F644118D-AFDF-4BD9-AACC-5366F3257D29}"/>
              </a:ext>
            </a:extLst>
          </p:cNvPr>
          <p:cNvSpPr>
            <a:spLocks noChangeAspect="1"/>
          </p:cNvSpPr>
          <p:nvPr/>
        </p:nvSpPr>
        <p:spPr>
          <a:xfrm>
            <a:off x="24891491" y="10659482"/>
            <a:ext cx="1371933" cy="1371933"/>
          </a:xfrm>
          <a:prstGeom prst="ellipse">
            <a:avLst/>
          </a:prstGeom>
          <a:solidFill>
            <a:schemeClr val="bg1"/>
          </a:solidFill>
          <a:ln w="508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5863" b="1">
                <a:solidFill>
                  <a:schemeClr val="accent3"/>
                </a:solidFill>
                <a:latin typeface="Arial Nova" panose="020B050402020202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3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2704FD8-60FC-9882-6AE5-684B8918B4F4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l="3280" t="119" r="4215" b="3069"/>
          <a:stretch/>
        </p:blipFill>
        <p:spPr>
          <a:xfrm>
            <a:off x="3192607" y="3522752"/>
            <a:ext cx="14971703" cy="6789088"/>
          </a:xfrm>
          <a:prstGeom prst="rect">
            <a:avLst/>
          </a:prstGeom>
          <a:effectLst>
            <a:outerShdw blurRad="127000" dist="889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Gráfico 4" descr="Lupa con relleno sólido">
            <a:extLst>
              <a:ext uri="{FF2B5EF4-FFF2-40B4-BE49-F238E27FC236}">
                <a16:creationId xmlns:a16="http://schemas.microsoft.com/office/drawing/2014/main" id="{E203F35A-2B9E-2600-95EF-57FEDDA5AE17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 rot="16200000">
            <a:off x="7671221" y="13544624"/>
            <a:ext cx="6238600" cy="6238600"/>
          </a:xfrm>
          <a:prstGeom prst="rect">
            <a:avLst/>
          </a:prstGeom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9" name="Grupo 8">
            <a:extLst>
              <a:ext uri="{FF2B5EF4-FFF2-40B4-BE49-F238E27FC236}">
                <a16:creationId xmlns:a16="http://schemas.microsoft.com/office/drawing/2014/main" id="{E210D6C2-3D49-3FDF-78A6-6F59739EBED4}"/>
              </a:ext>
            </a:extLst>
          </p:cNvPr>
          <p:cNvGrpSpPr/>
          <p:nvPr/>
        </p:nvGrpSpPr>
        <p:grpSpPr>
          <a:xfrm>
            <a:off x="1055505" y="3662529"/>
            <a:ext cx="19017044" cy="6619578"/>
            <a:chOff x="567674" y="1237910"/>
            <a:chExt cx="7064497" cy="194828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" name="Rectángulo 9">
              <a:extLst>
                <a:ext uri="{FF2B5EF4-FFF2-40B4-BE49-F238E27FC236}">
                  <a16:creationId xmlns:a16="http://schemas.microsoft.com/office/drawing/2014/main" id="{E9C93B83-46B0-524A-7119-14B9D41CCFB8}"/>
                </a:ext>
              </a:extLst>
            </p:cNvPr>
            <p:cNvSpPr/>
            <p:nvPr/>
          </p:nvSpPr>
          <p:spPr>
            <a:xfrm>
              <a:off x="717549" y="1237910"/>
              <a:ext cx="6914622" cy="194828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80628">
                <a:defRPr/>
              </a:pPr>
              <a:endParaRPr lang="ca-ES" sz="528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06F47E4F-9B63-8FE7-9625-AD9691BE6DE8}"/>
                </a:ext>
              </a:extLst>
            </p:cNvPr>
            <p:cNvSpPr/>
            <p:nvPr/>
          </p:nvSpPr>
          <p:spPr>
            <a:xfrm>
              <a:off x="1765922" y="1805981"/>
              <a:ext cx="997527" cy="120534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2680628">
                <a:defRPr/>
              </a:pPr>
              <a:r>
                <a:rPr lang="ca-ES" sz="7036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</a:t>
              </a:r>
              <a:r>
                <a:rPr lang="ca-ES" sz="4107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ca-ES" sz="7036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2" name="CuadroTexto 11">
              <a:extLst>
                <a:ext uri="{FF2B5EF4-FFF2-40B4-BE49-F238E27FC236}">
                  <a16:creationId xmlns:a16="http://schemas.microsoft.com/office/drawing/2014/main" id="{F93D11A4-77C5-A574-4591-5995FE172B1A}"/>
                </a:ext>
              </a:extLst>
            </p:cNvPr>
            <p:cNvSpPr txBox="1"/>
            <p:nvPr/>
          </p:nvSpPr>
          <p:spPr>
            <a:xfrm>
              <a:off x="567674" y="1498912"/>
              <a:ext cx="1380514" cy="1865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2680628">
                <a:defRPr/>
              </a:pPr>
              <a:r>
                <a:rPr lang="ca-ES" sz="3518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ituació BAU</a:t>
              </a: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:a16="http://schemas.microsoft.com/office/drawing/2014/main" id="{26631F1A-31C0-3ECA-9154-0F9D7F0B3865}"/>
                </a:ext>
              </a:extLst>
            </p:cNvPr>
            <p:cNvSpPr txBox="1"/>
            <p:nvPr/>
          </p:nvSpPr>
          <p:spPr>
            <a:xfrm>
              <a:off x="808119" y="2618259"/>
              <a:ext cx="821549" cy="3458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2680628">
                <a:defRPr/>
              </a:pPr>
              <a:r>
                <a:rPr lang="ca-ES" sz="3518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Objectiu 
</a:t>
              </a:r>
            </a:p>
          </p:txBody>
        </p:sp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BF4BF58F-88DA-B63A-1092-0E67613CAB72}"/>
                </a:ext>
              </a:extLst>
            </p:cNvPr>
            <p:cNvSpPr/>
            <p:nvPr/>
          </p:nvSpPr>
          <p:spPr>
            <a:xfrm>
              <a:off x="2917072" y="2113697"/>
              <a:ext cx="997527" cy="89763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2680628">
                <a:defRPr/>
              </a:pPr>
              <a:r>
                <a:rPr lang="ca-ES" sz="5280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</a:t>
              </a:r>
              <a:r>
                <a:rPr lang="ca-ES" sz="3225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ca-ES" sz="5280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5" name="Imagen 14">
              <a:extLst>
                <a:ext uri="{FF2B5EF4-FFF2-40B4-BE49-F238E27FC236}">
                  <a16:creationId xmlns:a16="http://schemas.microsoft.com/office/drawing/2014/main" id="{B9ED9267-A975-5824-1125-D20D5B463F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359485" flipV="1">
              <a:off x="2540346" y="1467283"/>
              <a:ext cx="702650" cy="504000"/>
            </a:xfrm>
            <a:prstGeom prst="rect">
              <a:avLst/>
            </a:prstGeom>
          </p:spPr>
        </p:pic>
        <p:sp>
          <p:nvSpPr>
            <p:cNvPr id="16" name="Rectángulo 15">
              <a:extLst>
                <a:ext uri="{FF2B5EF4-FFF2-40B4-BE49-F238E27FC236}">
                  <a16:creationId xmlns:a16="http://schemas.microsoft.com/office/drawing/2014/main" id="{EEC62220-3225-1E7D-B2AF-031C730305B0}"/>
                </a:ext>
              </a:extLst>
            </p:cNvPr>
            <p:cNvSpPr/>
            <p:nvPr/>
          </p:nvSpPr>
          <p:spPr>
            <a:xfrm>
              <a:off x="4068221" y="2415674"/>
              <a:ext cx="997527" cy="5956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2680628">
                <a:defRPr/>
              </a:pPr>
              <a:r>
                <a:rPr lang="ca-ES" sz="4107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</a:t>
              </a:r>
              <a:r>
                <a:rPr lang="ca-ES" sz="2934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ca-ES" sz="4107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Rectángulo 16">
              <a:extLst>
                <a:ext uri="{FF2B5EF4-FFF2-40B4-BE49-F238E27FC236}">
                  <a16:creationId xmlns:a16="http://schemas.microsoft.com/office/drawing/2014/main" id="{D43C7E3E-0478-A9D6-D1ED-04B8B9CEA994}"/>
                </a:ext>
              </a:extLst>
            </p:cNvPr>
            <p:cNvSpPr/>
            <p:nvPr/>
          </p:nvSpPr>
          <p:spPr>
            <a:xfrm>
              <a:off x="5237723" y="2713500"/>
              <a:ext cx="997527" cy="297827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 defTabSz="2680628">
                <a:defRPr/>
              </a:pPr>
              <a:r>
                <a:rPr lang="ca-ES" sz="3518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</a:t>
              </a:r>
              <a:r>
                <a:rPr lang="ca-ES" sz="2638" b="1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ca-ES" sz="3518" b="1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8" name="Imagen 17">
              <a:extLst>
                <a:ext uri="{FF2B5EF4-FFF2-40B4-BE49-F238E27FC236}">
                  <a16:creationId xmlns:a16="http://schemas.microsoft.com/office/drawing/2014/main" id="{0CD4ACF2-42D4-88C6-1843-0CC607A87C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382586" flipV="1">
              <a:off x="3750925" y="1754686"/>
              <a:ext cx="702650" cy="504000"/>
            </a:xfrm>
            <a:prstGeom prst="rect">
              <a:avLst/>
            </a:prstGeom>
          </p:spPr>
        </p:pic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FDA5D632-FA2F-FFE0-EE29-9EF0C689A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345161" flipV="1">
              <a:off x="4915929" y="2038861"/>
              <a:ext cx="702650" cy="504000"/>
            </a:xfrm>
            <a:prstGeom prst="rect">
              <a:avLst/>
            </a:prstGeom>
          </p:spPr>
        </p:pic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E598E11D-4355-B544-BDEA-855CA42D9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hq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3430838" flipV="1">
              <a:off x="6053226" y="2342568"/>
              <a:ext cx="702650" cy="504000"/>
            </a:xfrm>
            <a:prstGeom prst="rect">
              <a:avLst/>
            </a:prstGeom>
          </p:spPr>
        </p:pic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212FE6B7-34D5-F851-58C5-BCFA85FE103E}"/>
                </a:ext>
              </a:extLst>
            </p:cNvPr>
            <p:cNvSpPr/>
            <p:nvPr/>
          </p:nvSpPr>
          <p:spPr>
            <a:xfrm>
              <a:off x="6412335" y="2965608"/>
              <a:ext cx="997527" cy="4571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80628">
                <a:defRPr/>
              </a:pPr>
              <a:endParaRPr lang="ca-ES" sz="528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cxnSp>
          <p:nvCxnSpPr>
            <p:cNvPr id="22" name="Conector recto 21">
              <a:extLst>
                <a:ext uri="{FF2B5EF4-FFF2-40B4-BE49-F238E27FC236}">
                  <a16:creationId xmlns:a16="http://schemas.microsoft.com/office/drawing/2014/main" id="{B71DAE52-5FF4-99C3-92EA-1E3572BA2BBB}"/>
                </a:ext>
              </a:extLst>
            </p:cNvPr>
            <p:cNvCxnSpPr/>
            <p:nvPr/>
          </p:nvCxnSpPr>
          <p:spPr>
            <a:xfrm>
              <a:off x="1557631" y="3011327"/>
              <a:ext cx="16850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22">
              <a:extLst>
                <a:ext uri="{FF2B5EF4-FFF2-40B4-BE49-F238E27FC236}">
                  <a16:creationId xmlns:a16="http://schemas.microsoft.com/office/drawing/2014/main" id="{066850AE-AC8D-9C34-323E-D548FB4A5CAF}"/>
                </a:ext>
              </a:extLst>
            </p:cNvPr>
            <p:cNvCxnSpPr/>
            <p:nvPr/>
          </p:nvCxnSpPr>
          <p:spPr>
            <a:xfrm>
              <a:off x="1557630" y="1810171"/>
              <a:ext cx="16850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24718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" presetClass="entr" presetSubtype="2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5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6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42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5" grpId="0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4" grpId="0" animBg="1"/>
      <p:bldP spid="95" grpId="0" animBg="1"/>
      <p:bldP spid="96" grpId="0" animBg="1"/>
      <p:bldP spid="98" grpId="0" animBg="1"/>
      <p:bldP spid="100" grpId="0"/>
      <p:bldP spid="102" grpId="0"/>
      <p:bldP spid="103" grpId="0"/>
      <p:bldP spid="104" grpId="0"/>
      <p:bldP spid="105" grpId="0"/>
      <p:bldP spid="106" grpId="0"/>
      <p:bldP spid="107" grpId="0"/>
      <p:bldP spid="108" grpId="0"/>
      <p:bldP spid="136" grpId="0" animBg="1"/>
      <p:bldP spid="93" grpId="0" animBg="1"/>
      <p:bldP spid="9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Un dibujo de un árbol&#10;&#10;Descripción generada automáticamente con confianza baja">
            <a:extLst>
              <a:ext uri="{FF2B5EF4-FFF2-40B4-BE49-F238E27FC236}">
                <a16:creationId xmlns:a16="http://schemas.microsoft.com/office/drawing/2014/main" id="{891E63F1-48BA-BB2C-4805-B54F360371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4"/>
            <a:ext cx="35740975" cy="20103085"/>
          </a:xfrm>
          <a:prstGeom prst="rect">
            <a:avLst/>
          </a:prstGeom>
        </p:spPr>
      </p:pic>
      <p:sp>
        <p:nvSpPr>
          <p:cNvPr id="4" name="object 4">
            <a:extLst>
              <a:ext uri="{FF2B5EF4-FFF2-40B4-BE49-F238E27FC236}">
                <a16:creationId xmlns:a16="http://schemas.microsoft.com/office/drawing/2014/main" id="{67EB9724-21FF-49A3-DCB2-8ED17AF80694}"/>
              </a:ext>
            </a:extLst>
          </p:cNvPr>
          <p:cNvSpPr txBox="1">
            <a:spLocks/>
          </p:cNvSpPr>
          <p:nvPr/>
        </p:nvSpPr>
        <p:spPr>
          <a:xfrm>
            <a:off x="2249487" y="4108450"/>
            <a:ext cx="28956000" cy="926086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s-ES" sz="20000" b="1" kern="0" spc="55" dirty="0" err="1">
                <a:solidFill>
                  <a:schemeClr val="bg1"/>
                </a:solidFill>
                <a:latin typeface="Roobert ENEL" panose="00000500000000000000" pitchFamily="50" charset="0"/>
              </a:rPr>
              <a:t>L'electrificació</a:t>
            </a:r>
            <a:r>
              <a:rPr lang="es-ES" sz="20000" b="1" kern="0" spc="55" dirty="0">
                <a:solidFill>
                  <a:schemeClr val="bg1"/>
                </a:solidFill>
                <a:latin typeface="Roobert ENEL" panose="00000500000000000000" pitchFamily="50" charset="0"/>
              </a:rPr>
              <a:t> </a:t>
            </a:r>
            <a:r>
              <a:rPr lang="es-ES" sz="20000" b="1" kern="0" spc="55" dirty="0" err="1">
                <a:solidFill>
                  <a:schemeClr val="bg1"/>
                </a:solidFill>
                <a:latin typeface="Roobert ENEL" panose="00000500000000000000" pitchFamily="50" charset="0"/>
              </a:rPr>
              <a:t>és</a:t>
            </a:r>
            <a:r>
              <a:rPr lang="es-ES" sz="20000" b="1" kern="0" spc="55" dirty="0">
                <a:solidFill>
                  <a:schemeClr val="bg1"/>
                </a:solidFill>
                <a:latin typeface="Roobert ENEL" panose="00000500000000000000" pitchFamily="50" charset="0"/>
              </a:rPr>
              <a:t> cada vegada </a:t>
            </a:r>
            <a:r>
              <a:rPr lang="es-ES" sz="20000" b="1" kern="0" spc="55" dirty="0" err="1">
                <a:solidFill>
                  <a:schemeClr val="bg1"/>
                </a:solidFill>
                <a:latin typeface="Roobert ENEL" panose="00000500000000000000" pitchFamily="50" charset="0"/>
              </a:rPr>
              <a:t>més</a:t>
            </a:r>
            <a:r>
              <a:rPr lang="es-ES" sz="20000" b="1" kern="0" spc="55" dirty="0">
                <a:solidFill>
                  <a:schemeClr val="bg1"/>
                </a:solidFill>
                <a:latin typeface="Roobert ENEL" panose="00000500000000000000" pitchFamily="50" charset="0"/>
              </a:rPr>
              <a:t> factible
</a:t>
            </a:r>
            <a:endParaRPr lang="es-ES" sz="20000" b="1" kern="0" spc="5" dirty="0">
              <a:solidFill>
                <a:schemeClr val="bg1"/>
              </a:solidFill>
              <a:latin typeface="Roobert ENEL" panose="00000500000000000000" pitchFamily="50" charset="0"/>
            </a:endParaRPr>
          </a:p>
        </p:txBody>
      </p:sp>
      <p:sp>
        <p:nvSpPr>
          <p:cNvPr id="5" name="bg object 21">
            <a:extLst>
              <a:ext uri="{FF2B5EF4-FFF2-40B4-BE49-F238E27FC236}">
                <a16:creationId xmlns:a16="http://schemas.microsoft.com/office/drawing/2014/main" id="{210B0584-912D-2BE9-6D69-D8447ED866B0}"/>
              </a:ext>
            </a:extLst>
          </p:cNvPr>
          <p:cNvSpPr/>
          <p:nvPr/>
        </p:nvSpPr>
        <p:spPr>
          <a:xfrm>
            <a:off x="28843287" y="18434050"/>
            <a:ext cx="5702934" cy="924560"/>
          </a:xfrm>
          <a:custGeom>
            <a:avLst/>
            <a:gdLst/>
            <a:ahLst/>
            <a:cxnLst/>
            <a:rect l="l" t="t" r="r" b="b"/>
            <a:pathLst>
              <a:path w="6922134" h="1153160">
                <a:moveTo>
                  <a:pt x="845985" y="631863"/>
                </a:moveTo>
                <a:lnTo>
                  <a:pt x="835507" y="586574"/>
                </a:lnTo>
                <a:lnTo>
                  <a:pt x="820331" y="543280"/>
                </a:lnTo>
                <a:lnTo>
                  <a:pt x="800735" y="502259"/>
                </a:lnTo>
                <a:lnTo>
                  <a:pt x="777024" y="463778"/>
                </a:lnTo>
                <a:lnTo>
                  <a:pt x="749465" y="428155"/>
                </a:lnTo>
                <a:lnTo>
                  <a:pt x="718375" y="395655"/>
                </a:lnTo>
                <a:lnTo>
                  <a:pt x="684022" y="366560"/>
                </a:lnTo>
                <a:lnTo>
                  <a:pt x="646696" y="341172"/>
                </a:lnTo>
                <a:lnTo>
                  <a:pt x="606704" y="319747"/>
                </a:lnTo>
                <a:lnTo>
                  <a:pt x="564311" y="302590"/>
                </a:lnTo>
                <a:lnTo>
                  <a:pt x="519823" y="289991"/>
                </a:lnTo>
                <a:lnTo>
                  <a:pt x="473532" y="282219"/>
                </a:lnTo>
                <a:lnTo>
                  <a:pt x="425716" y="279565"/>
                </a:lnTo>
                <a:lnTo>
                  <a:pt x="379336" y="282067"/>
                </a:lnTo>
                <a:lnTo>
                  <a:pt x="334391" y="289382"/>
                </a:lnTo>
                <a:lnTo>
                  <a:pt x="291160" y="301269"/>
                </a:lnTo>
                <a:lnTo>
                  <a:pt x="249897" y="317461"/>
                </a:lnTo>
                <a:lnTo>
                  <a:pt x="210858" y="337693"/>
                </a:lnTo>
                <a:lnTo>
                  <a:pt x="174294" y="361708"/>
                </a:lnTo>
                <a:lnTo>
                  <a:pt x="140487" y="389242"/>
                </a:lnTo>
                <a:lnTo>
                  <a:pt x="109677" y="420052"/>
                </a:lnTo>
                <a:lnTo>
                  <a:pt x="82143" y="453859"/>
                </a:lnTo>
                <a:lnTo>
                  <a:pt x="58127" y="490410"/>
                </a:lnTo>
                <a:lnTo>
                  <a:pt x="37896" y="529450"/>
                </a:lnTo>
                <a:lnTo>
                  <a:pt x="21704" y="570725"/>
                </a:lnTo>
                <a:lnTo>
                  <a:pt x="9817" y="613956"/>
                </a:lnTo>
                <a:lnTo>
                  <a:pt x="2501" y="658888"/>
                </a:lnTo>
                <a:lnTo>
                  <a:pt x="0" y="705281"/>
                </a:lnTo>
                <a:lnTo>
                  <a:pt x="2501" y="751662"/>
                </a:lnTo>
                <a:lnTo>
                  <a:pt x="9817" y="796607"/>
                </a:lnTo>
                <a:lnTo>
                  <a:pt x="21704" y="839838"/>
                </a:lnTo>
                <a:lnTo>
                  <a:pt x="37896" y="881100"/>
                </a:lnTo>
                <a:lnTo>
                  <a:pt x="58127" y="920153"/>
                </a:lnTo>
                <a:lnTo>
                  <a:pt x="82143" y="956703"/>
                </a:lnTo>
                <a:lnTo>
                  <a:pt x="109677" y="990511"/>
                </a:lnTo>
                <a:lnTo>
                  <a:pt x="140487" y="1021321"/>
                </a:lnTo>
                <a:lnTo>
                  <a:pt x="174294" y="1048854"/>
                </a:lnTo>
                <a:lnTo>
                  <a:pt x="210858" y="1072870"/>
                </a:lnTo>
                <a:lnTo>
                  <a:pt x="249897" y="1093101"/>
                </a:lnTo>
                <a:lnTo>
                  <a:pt x="291160" y="1109294"/>
                </a:lnTo>
                <a:lnTo>
                  <a:pt x="334391" y="1121181"/>
                </a:lnTo>
                <a:lnTo>
                  <a:pt x="379336" y="1128496"/>
                </a:lnTo>
                <a:lnTo>
                  <a:pt x="425716" y="1130998"/>
                </a:lnTo>
                <a:lnTo>
                  <a:pt x="476542" y="1127988"/>
                </a:lnTo>
                <a:lnTo>
                  <a:pt x="525589" y="1119212"/>
                </a:lnTo>
                <a:lnTo>
                  <a:pt x="572528" y="1105001"/>
                </a:lnTo>
                <a:lnTo>
                  <a:pt x="617004" y="1085697"/>
                </a:lnTo>
                <a:lnTo>
                  <a:pt x="658685" y="1061656"/>
                </a:lnTo>
                <a:lnTo>
                  <a:pt x="697217" y="1033208"/>
                </a:lnTo>
                <a:lnTo>
                  <a:pt x="732256" y="1000696"/>
                </a:lnTo>
                <a:lnTo>
                  <a:pt x="763473" y="964463"/>
                </a:lnTo>
                <a:lnTo>
                  <a:pt x="662673" y="887107"/>
                </a:lnTo>
                <a:lnTo>
                  <a:pt x="632866" y="920432"/>
                </a:lnTo>
                <a:lnTo>
                  <a:pt x="598424" y="948969"/>
                </a:lnTo>
                <a:lnTo>
                  <a:pt x="559917" y="972159"/>
                </a:lnTo>
                <a:lnTo>
                  <a:pt x="517918" y="989431"/>
                </a:lnTo>
                <a:lnTo>
                  <a:pt x="472998" y="1000213"/>
                </a:lnTo>
                <a:lnTo>
                  <a:pt x="425716" y="1003935"/>
                </a:lnTo>
                <a:lnTo>
                  <a:pt x="377266" y="1000023"/>
                </a:lnTo>
                <a:lnTo>
                  <a:pt x="331317" y="988707"/>
                </a:lnTo>
                <a:lnTo>
                  <a:pt x="288467" y="970597"/>
                </a:lnTo>
                <a:lnTo>
                  <a:pt x="249339" y="946315"/>
                </a:lnTo>
                <a:lnTo>
                  <a:pt x="214528" y="916457"/>
                </a:lnTo>
                <a:lnTo>
                  <a:pt x="184683" y="881659"/>
                </a:lnTo>
                <a:lnTo>
                  <a:pt x="160401" y="842530"/>
                </a:lnTo>
                <a:lnTo>
                  <a:pt x="142290" y="799680"/>
                </a:lnTo>
                <a:lnTo>
                  <a:pt x="130962" y="753719"/>
                </a:lnTo>
                <a:lnTo>
                  <a:pt x="127063" y="705281"/>
                </a:lnTo>
                <a:lnTo>
                  <a:pt x="130962" y="656831"/>
                </a:lnTo>
                <a:lnTo>
                  <a:pt x="142290" y="610882"/>
                </a:lnTo>
                <a:lnTo>
                  <a:pt x="160401" y="568032"/>
                </a:lnTo>
                <a:lnTo>
                  <a:pt x="184683" y="528891"/>
                </a:lnTo>
                <a:lnTo>
                  <a:pt x="214528" y="494093"/>
                </a:lnTo>
                <a:lnTo>
                  <a:pt x="249339" y="464235"/>
                </a:lnTo>
                <a:lnTo>
                  <a:pt x="288467" y="439953"/>
                </a:lnTo>
                <a:lnTo>
                  <a:pt x="331317" y="421843"/>
                </a:lnTo>
                <a:lnTo>
                  <a:pt x="377266" y="410527"/>
                </a:lnTo>
                <a:lnTo>
                  <a:pt x="425716" y="406615"/>
                </a:lnTo>
                <a:lnTo>
                  <a:pt x="476935" y="410984"/>
                </a:lnTo>
                <a:lnTo>
                  <a:pt x="525399" y="423608"/>
                </a:lnTo>
                <a:lnTo>
                  <a:pt x="570344" y="443750"/>
                </a:lnTo>
                <a:lnTo>
                  <a:pt x="611022" y="470687"/>
                </a:lnTo>
                <a:lnTo>
                  <a:pt x="646696" y="503707"/>
                </a:lnTo>
                <a:lnTo>
                  <a:pt x="676605" y="542048"/>
                </a:lnTo>
                <a:lnTo>
                  <a:pt x="699998" y="585012"/>
                </a:lnTo>
                <a:lnTo>
                  <a:pt x="716153" y="631863"/>
                </a:lnTo>
                <a:lnTo>
                  <a:pt x="401294" y="631863"/>
                </a:lnTo>
                <a:lnTo>
                  <a:pt x="401294" y="758913"/>
                </a:lnTo>
                <a:lnTo>
                  <a:pt x="845985" y="758913"/>
                </a:lnTo>
                <a:lnTo>
                  <a:pt x="845985" y="631863"/>
                </a:lnTo>
                <a:close/>
              </a:path>
              <a:path w="6922134" h="1153160">
                <a:moveTo>
                  <a:pt x="1736051" y="631583"/>
                </a:moveTo>
                <a:lnTo>
                  <a:pt x="1732813" y="583387"/>
                </a:lnTo>
                <a:lnTo>
                  <a:pt x="1723390" y="537298"/>
                </a:lnTo>
                <a:lnTo>
                  <a:pt x="1708213" y="493712"/>
                </a:lnTo>
                <a:lnTo>
                  <a:pt x="1687703" y="453021"/>
                </a:lnTo>
                <a:lnTo>
                  <a:pt x="1662290" y="415645"/>
                </a:lnTo>
                <a:lnTo>
                  <a:pt x="1632394" y="381952"/>
                </a:lnTo>
                <a:lnTo>
                  <a:pt x="1598460" y="352361"/>
                </a:lnTo>
                <a:lnTo>
                  <a:pt x="1560906" y="327253"/>
                </a:lnTo>
                <a:lnTo>
                  <a:pt x="1520151" y="307035"/>
                </a:lnTo>
                <a:lnTo>
                  <a:pt x="1476629" y="292112"/>
                </a:lnTo>
                <a:lnTo>
                  <a:pt x="1430769" y="282854"/>
                </a:lnTo>
                <a:lnTo>
                  <a:pt x="1382991" y="279692"/>
                </a:lnTo>
                <a:lnTo>
                  <a:pt x="1328674" y="283298"/>
                </a:lnTo>
                <a:lnTo>
                  <a:pt x="1276629" y="293827"/>
                </a:lnTo>
                <a:lnTo>
                  <a:pt x="1227315" y="310794"/>
                </a:lnTo>
                <a:lnTo>
                  <a:pt x="1181163" y="333730"/>
                </a:lnTo>
                <a:lnTo>
                  <a:pt x="1138605" y="362191"/>
                </a:lnTo>
                <a:lnTo>
                  <a:pt x="1100086" y="395693"/>
                </a:lnTo>
                <a:lnTo>
                  <a:pt x="1100086" y="314223"/>
                </a:lnTo>
                <a:lnTo>
                  <a:pt x="973035" y="314223"/>
                </a:lnTo>
                <a:lnTo>
                  <a:pt x="973035" y="758913"/>
                </a:lnTo>
                <a:lnTo>
                  <a:pt x="1100086" y="758913"/>
                </a:lnTo>
                <a:lnTo>
                  <a:pt x="1100086" y="653681"/>
                </a:lnTo>
                <a:lnTo>
                  <a:pt x="1109129" y="618350"/>
                </a:lnTo>
                <a:lnTo>
                  <a:pt x="1123543" y="581380"/>
                </a:lnTo>
                <a:lnTo>
                  <a:pt x="1143419" y="544322"/>
                </a:lnTo>
                <a:lnTo>
                  <a:pt x="1168869" y="508723"/>
                </a:lnTo>
                <a:lnTo>
                  <a:pt x="1199972" y="476135"/>
                </a:lnTo>
                <a:lnTo>
                  <a:pt x="1236827" y="448094"/>
                </a:lnTo>
                <a:lnTo>
                  <a:pt x="1279537" y="426161"/>
                </a:lnTo>
                <a:lnTo>
                  <a:pt x="1328191" y="411861"/>
                </a:lnTo>
                <a:lnTo>
                  <a:pt x="1382877" y="406742"/>
                </a:lnTo>
                <a:lnTo>
                  <a:pt x="1428254" y="411200"/>
                </a:lnTo>
                <a:lnTo>
                  <a:pt x="1470596" y="424053"/>
                </a:lnTo>
                <a:lnTo>
                  <a:pt x="1509001" y="444461"/>
                </a:lnTo>
                <a:lnTo>
                  <a:pt x="1542503" y="471627"/>
                </a:lnTo>
                <a:lnTo>
                  <a:pt x="1570189" y="504736"/>
                </a:lnTo>
                <a:lnTo>
                  <a:pt x="1591119" y="542963"/>
                </a:lnTo>
                <a:lnTo>
                  <a:pt x="1604365" y="585520"/>
                </a:lnTo>
                <a:lnTo>
                  <a:pt x="1608988" y="631583"/>
                </a:lnTo>
                <a:lnTo>
                  <a:pt x="1608988" y="1118082"/>
                </a:lnTo>
                <a:lnTo>
                  <a:pt x="1736051" y="1118082"/>
                </a:lnTo>
                <a:lnTo>
                  <a:pt x="1736051" y="631583"/>
                </a:lnTo>
                <a:close/>
              </a:path>
              <a:path w="6922134" h="1153160">
                <a:moveTo>
                  <a:pt x="2712847" y="0"/>
                </a:moveTo>
                <a:lnTo>
                  <a:pt x="2585796" y="0"/>
                </a:lnTo>
                <a:lnTo>
                  <a:pt x="2585796" y="400329"/>
                </a:lnTo>
                <a:lnTo>
                  <a:pt x="2551265" y="370116"/>
                </a:lnTo>
                <a:lnTo>
                  <a:pt x="2513584" y="343712"/>
                </a:lnTo>
                <a:lnTo>
                  <a:pt x="2473083" y="321437"/>
                </a:lnTo>
                <a:lnTo>
                  <a:pt x="2430056" y="303568"/>
                </a:lnTo>
                <a:lnTo>
                  <a:pt x="2384806" y="290436"/>
                </a:lnTo>
                <a:lnTo>
                  <a:pt x="2337625" y="282333"/>
                </a:lnTo>
                <a:lnTo>
                  <a:pt x="2288819" y="279565"/>
                </a:lnTo>
                <a:lnTo>
                  <a:pt x="2242439" y="282054"/>
                </a:lnTo>
                <a:lnTo>
                  <a:pt x="2197493" y="289382"/>
                </a:lnTo>
                <a:lnTo>
                  <a:pt x="2154263" y="301269"/>
                </a:lnTo>
                <a:lnTo>
                  <a:pt x="2113000" y="317449"/>
                </a:lnTo>
                <a:lnTo>
                  <a:pt x="2073960" y="337680"/>
                </a:lnTo>
                <a:lnTo>
                  <a:pt x="2037397" y="361696"/>
                </a:lnTo>
                <a:lnTo>
                  <a:pt x="2003590" y="389242"/>
                </a:lnTo>
                <a:lnTo>
                  <a:pt x="1972779" y="420039"/>
                </a:lnTo>
                <a:lnTo>
                  <a:pt x="1945246" y="453859"/>
                </a:lnTo>
                <a:lnTo>
                  <a:pt x="1921230" y="490410"/>
                </a:lnTo>
                <a:lnTo>
                  <a:pt x="1900986" y="529450"/>
                </a:lnTo>
                <a:lnTo>
                  <a:pt x="1884807" y="570712"/>
                </a:lnTo>
                <a:lnTo>
                  <a:pt x="1872919" y="613943"/>
                </a:lnTo>
                <a:lnTo>
                  <a:pt x="1865591" y="658888"/>
                </a:lnTo>
                <a:lnTo>
                  <a:pt x="1863102" y="705281"/>
                </a:lnTo>
                <a:lnTo>
                  <a:pt x="1865591" y="751662"/>
                </a:lnTo>
                <a:lnTo>
                  <a:pt x="1872919" y="796607"/>
                </a:lnTo>
                <a:lnTo>
                  <a:pt x="1884807" y="839838"/>
                </a:lnTo>
                <a:lnTo>
                  <a:pt x="1900986" y="881100"/>
                </a:lnTo>
                <a:lnTo>
                  <a:pt x="1921230" y="920140"/>
                </a:lnTo>
                <a:lnTo>
                  <a:pt x="1945246" y="956703"/>
                </a:lnTo>
                <a:lnTo>
                  <a:pt x="1972779" y="990511"/>
                </a:lnTo>
                <a:lnTo>
                  <a:pt x="2003590" y="1021308"/>
                </a:lnTo>
                <a:lnTo>
                  <a:pt x="2037397" y="1048854"/>
                </a:lnTo>
                <a:lnTo>
                  <a:pt x="2073960" y="1072870"/>
                </a:lnTo>
                <a:lnTo>
                  <a:pt x="2113000" y="1093101"/>
                </a:lnTo>
                <a:lnTo>
                  <a:pt x="2154263" y="1109281"/>
                </a:lnTo>
                <a:lnTo>
                  <a:pt x="2197493" y="1121168"/>
                </a:lnTo>
                <a:lnTo>
                  <a:pt x="2242439" y="1128496"/>
                </a:lnTo>
                <a:lnTo>
                  <a:pt x="2288819" y="1130985"/>
                </a:lnTo>
                <a:lnTo>
                  <a:pt x="2340622" y="1127874"/>
                </a:lnTo>
                <a:lnTo>
                  <a:pt x="2390571" y="1118755"/>
                </a:lnTo>
                <a:lnTo>
                  <a:pt x="2438311" y="1103998"/>
                </a:lnTo>
                <a:lnTo>
                  <a:pt x="2483472" y="1083983"/>
                </a:lnTo>
                <a:lnTo>
                  <a:pt x="2525699" y="1059053"/>
                </a:lnTo>
                <a:lnTo>
                  <a:pt x="2454999" y="953465"/>
                </a:lnTo>
                <a:lnTo>
                  <a:pt x="2417648" y="974801"/>
                </a:lnTo>
                <a:lnTo>
                  <a:pt x="2377160" y="990663"/>
                </a:lnTo>
                <a:lnTo>
                  <a:pt x="2334056" y="1000544"/>
                </a:lnTo>
                <a:lnTo>
                  <a:pt x="2288819" y="1003947"/>
                </a:lnTo>
                <a:lnTo>
                  <a:pt x="2240381" y="1000036"/>
                </a:lnTo>
                <a:lnTo>
                  <a:pt x="2194420" y="988720"/>
                </a:lnTo>
                <a:lnTo>
                  <a:pt x="2151570" y="970610"/>
                </a:lnTo>
                <a:lnTo>
                  <a:pt x="2112429" y="946315"/>
                </a:lnTo>
                <a:lnTo>
                  <a:pt x="2077631" y="916470"/>
                </a:lnTo>
                <a:lnTo>
                  <a:pt x="2047786" y="881672"/>
                </a:lnTo>
                <a:lnTo>
                  <a:pt x="2023491" y="842530"/>
                </a:lnTo>
                <a:lnTo>
                  <a:pt x="2005380" y="799680"/>
                </a:lnTo>
                <a:lnTo>
                  <a:pt x="1994065" y="753719"/>
                </a:lnTo>
                <a:lnTo>
                  <a:pt x="1990153" y="705281"/>
                </a:lnTo>
                <a:lnTo>
                  <a:pt x="1994065" y="656831"/>
                </a:lnTo>
                <a:lnTo>
                  <a:pt x="2005380" y="610882"/>
                </a:lnTo>
                <a:lnTo>
                  <a:pt x="2023491" y="568020"/>
                </a:lnTo>
                <a:lnTo>
                  <a:pt x="2047786" y="528891"/>
                </a:lnTo>
                <a:lnTo>
                  <a:pt x="2077631" y="494093"/>
                </a:lnTo>
                <a:lnTo>
                  <a:pt x="2112429" y="464248"/>
                </a:lnTo>
                <a:lnTo>
                  <a:pt x="2151570" y="439953"/>
                </a:lnTo>
                <a:lnTo>
                  <a:pt x="2194420" y="421843"/>
                </a:lnTo>
                <a:lnTo>
                  <a:pt x="2240381" y="410527"/>
                </a:lnTo>
                <a:lnTo>
                  <a:pt x="2288819" y="406615"/>
                </a:lnTo>
                <a:lnTo>
                  <a:pt x="2339111" y="410832"/>
                </a:lnTo>
                <a:lnTo>
                  <a:pt x="2386685" y="423024"/>
                </a:lnTo>
                <a:lnTo>
                  <a:pt x="2430856" y="442493"/>
                </a:lnTo>
                <a:lnTo>
                  <a:pt x="2470937" y="468553"/>
                </a:lnTo>
                <a:lnTo>
                  <a:pt x="2506230" y="500519"/>
                </a:lnTo>
                <a:lnTo>
                  <a:pt x="2536050" y="537692"/>
                </a:lnTo>
                <a:lnTo>
                  <a:pt x="2559710" y="579386"/>
                </a:lnTo>
                <a:lnTo>
                  <a:pt x="2576525" y="624928"/>
                </a:lnTo>
                <a:lnTo>
                  <a:pt x="2585796" y="673608"/>
                </a:lnTo>
                <a:lnTo>
                  <a:pt x="2585796" y="1118069"/>
                </a:lnTo>
                <a:lnTo>
                  <a:pt x="2712847" y="1118069"/>
                </a:lnTo>
                <a:lnTo>
                  <a:pt x="2712847" y="0"/>
                </a:lnTo>
                <a:close/>
              </a:path>
              <a:path w="6922134" h="1153160">
                <a:moveTo>
                  <a:pt x="3685883" y="631863"/>
                </a:moveTo>
                <a:lnTo>
                  <a:pt x="3675418" y="586574"/>
                </a:lnTo>
                <a:lnTo>
                  <a:pt x="3660229" y="543280"/>
                </a:lnTo>
                <a:lnTo>
                  <a:pt x="3640645" y="502259"/>
                </a:lnTo>
                <a:lnTo>
                  <a:pt x="3616922" y="463778"/>
                </a:lnTo>
                <a:lnTo>
                  <a:pt x="3589375" y="428155"/>
                </a:lnTo>
                <a:lnTo>
                  <a:pt x="3558273" y="395655"/>
                </a:lnTo>
                <a:lnTo>
                  <a:pt x="3523919" y="366560"/>
                </a:lnTo>
                <a:lnTo>
                  <a:pt x="3486607" y="341172"/>
                </a:lnTo>
                <a:lnTo>
                  <a:pt x="3446602" y="319747"/>
                </a:lnTo>
                <a:lnTo>
                  <a:pt x="3404222" y="302590"/>
                </a:lnTo>
                <a:lnTo>
                  <a:pt x="3359734" y="289991"/>
                </a:lnTo>
                <a:lnTo>
                  <a:pt x="3313442" y="282219"/>
                </a:lnTo>
                <a:lnTo>
                  <a:pt x="3265627" y="279565"/>
                </a:lnTo>
                <a:lnTo>
                  <a:pt x="3219234" y="282067"/>
                </a:lnTo>
                <a:lnTo>
                  <a:pt x="3174301" y="289382"/>
                </a:lnTo>
                <a:lnTo>
                  <a:pt x="3131058" y="301269"/>
                </a:lnTo>
                <a:lnTo>
                  <a:pt x="3089795" y="317461"/>
                </a:lnTo>
                <a:lnTo>
                  <a:pt x="3050756" y="337693"/>
                </a:lnTo>
                <a:lnTo>
                  <a:pt x="3014205" y="361708"/>
                </a:lnTo>
                <a:lnTo>
                  <a:pt x="2980385" y="389242"/>
                </a:lnTo>
                <a:lnTo>
                  <a:pt x="2949587" y="420052"/>
                </a:lnTo>
                <a:lnTo>
                  <a:pt x="2922041" y="453859"/>
                </a:lnTo>
                <a:lnTo>
                  <a:pt x="2898025" y="490410"/>
                </a:lnTo>
                <a:lnTo>
                  <a:pt x="2877794" y="529450"/>
                </a:lnTo>
                <a:lnTo>
                  <a:pt x="2861614" y="570725"/>
                </a:lnTo>
                <a:lnTo>
                  <a:pt x="2849727" y="613956"/>
                </a:lnTo>
                <a:lnTo>
                  <a:pt x="2842399" y="658888"/>
                </a:lnTo>
                <a:lnTo>
                  <a:pt x="2839910" y="705281"/>
                </a:lnTo>
                <a:lnTo>
                  <a:pt x="2842399" y="751662"/>
                </a:lnTo>
                <a:lnTo>
                  <a:pt x="2849727" y="796607"/>
                </a:lnTo>
                <a:lnTo>
                  <a:pt x="2861614" y="839838"/>
                </a:lnTo>
                <a:lnTo>
                  <a:pt x="2877794" y="881100"/>
                </a:lnTo>
                <a:lnTo>
                  <a:pt x="2898025" y="920153"/>
                </a:lnTo>
                <a:lnTo>
                  <a:pt x="2922041" y="956703"/>
                </a:lnTo>
                <a:lnTo>
                  <a:pt x="2949587" y="990511"/>
                </a:lnTo>
                <a:lnTo>
                  <a:pt x="2980385" y="1021321"/>
                </a:lnTo>
                <a:lnTo>
                  <a:pt x="3014205" y="1048854"/>
                </a:lnTo>
                <a:lnTo>
                  <a:pt x="3050756" y="1072870"/>
                </a:lnTo>
                <a:lnTo>
                  <a:pt x="3089795" y="1093101"/>
                </a:lnTo>
                <a:lnTo>
                  <a:pt x="3131058" y="1109294"/>
                </a:lnTo>
                <a:lnTo>
                  <a:pt x="3174301" y="1121181"/>
                </a:lnTo>
                <a:lnTo>
                  <a:pt x="3219234" y="1128496"/>
                </a:lnTo>
                <a:lnTo>
                  <a:pt x="3265627" y="1130998"/>
                </a:lnTo>
                <a:lnTo>
                  <a:pt x="3316440" y="1127988"/>
                </a:lnTo>
                <a:lnTo>
                  <a:pt x="3365500" y="1119212"/>
                </a:lnTo>
                <a:lnTo>
                  <a:pt x="3412426" y="1105001"/>
                </a:lnTo>
                <a:lnTo>
                  <a:pt x="3456902" y="1085697"/>
                </a:lnTo>
                <a:lnTo>
                  <a:pt x="3498583" y="1061656"/>
                </a:lnTo>
                <a:lnTo>
                  <a:pt x="3537115" y="1033208"/>
                </a:lnTo>
                <a:lnTo>
                  <a:pt x="3572167" y="1000696"/>
                </a:lnTo>
                <a:lnTo>
                  <a:pt x="3603383" y="964463"/>
                </a:lnTo>
                <a:lnTo>
                  <a:pt x="3502583" y="887107"/>
                </a:lnTo>
                <a:lnTo>
                  <a:pt x="3472764" y="920432"/>
                </a:lnTo>
                <a:lnTo>
                  <a:pt x="3438321" y="948969"/>
                </a:lnTo>
                <a:lnTo>
                  <a:pt x="3399815" y="972159"/>
                </a:lnTo>
                <a:lnTo>
                  <a:pt x="3357816" y="989431"/>
                </a:lnTo>
                <a:lnTo>
                  <a:pt x="3312896" y="1000213"/>
                </a:lnTo>
                <a:lnTo>
                  <a:pt x="3265627" y="1003935"/>
                </a:lnTo>
                <a:lnTo>
                  <a:pt x="3217176" y="1000023"/>
                </a:lnTo>
                <a:lnTo>
                  <a:pt x="3171228" y="988707"/>
                </a:lnTo>
                <a:lnTo>
                  <a:pt x="3128365" y="970597"/>
                </a:lnTo>
                <a:lnTo>
                  <a:pt x="3089237" y="946315"/>
                </a:lnTo>
                <a:lnTo>
                  <a:pt x="3054439" y="916457"/>
                </a:lnTo>
                <a:lnTo>
                  <a:pt x="3024581" y="881659"/>
                </a:lnTo>
                <a:lnTo>
                  <a:pt x="3000298" y="842530"/>
                </a:lnTo>
                <a:lnTo>
                  <a:pt x="2982176" y="799680"/>
                </a:lnTo>
                <a:lnTo>
                  <a:pt x="2970860" y="753719"/>
                </a:lnTo>
                <a:lnTo>
                  <a:pt x="2966961" y="705281"/>
                </a:lnTo>
                <a:lnTo>
                  <a:pt x="2970860" y="656831"/>
                </a:lnTo>
                <a:lnTo>
                  <a:pt x="2982176" y="610882"/>
                </a:lnTo>
                <a:lnTo>
                  <a:pt x="3000298" y="568032"/>
                </a:lnTo>
                <a:lnTo>
                  <a:pt x="3024581" y="528891"/>
                </a:lnTo>
                <a:lnTo>
                  <a:pt x="3054439" y="494093"/>
                </a:lnTo>
                <a:lnTo>
                  <a:pt x="3089237" y="464235"/>
                </a:lnTo>
                <a:lnTo>
                  <a:pt x="3128365" y="439953"/>
                </a:lnTo>
                <a:lnTo>
                  <a:pt x="3171228" y="421843"/>
                </a:lnTo>
                <a:lnTo>
                  <a:pt x="3217176" y="410527"/>
                </a:lnTo>
                <a:lnTo>
                  <a:pt x="3265627" y="406615"/>
                </a:lnTo>
                <a:lnTo>
                  <a:pt x="3316846" y="410984"/>
                </a:lnTo>
                <a:lnTo>
                  <a:pt x="3365296" y="423608"/>
                </a:lnTo>
                <a:lnTo>
                  <a:pt x="3410242" y="443750"/>
                </a:lnTo>
                <a:lnTo>
                  <a:pt x="3450920" y="470687"/>
                </a:lnTo>
                <a:lnTo>
                  <a:pt x="3486594" y="503707"/>
                </a:lnTo>
                <a:lnTo>
                  <a:pt x="3516503" y="542048"/>
                </a:lnTo>
                <a:lnTo>
                  <a:pt x="3539896" y="585012"/>
                </a:lnTo>
                <a:lnTo>
                  <a:pt x="3556050" y="631863"/>
                </a:lnTo>
                <a:lnTo>
                  <a:pt x="3241192" y="631863"/>
                </a:lnTo>
                <a:lnTo>
                  <a:pt x="3241192" y="758913"/>
                </a:lnTo>
                <a:lnTo>
                  <a:pt x="3685883" y="758913"/>
                </a:lnTo>
                <a:lnTo>
                  <a:pt x="3685883" y="631863"/>
                </a:lnTo>
                <a:close/>
              </a:path>
              <a:path w="6922134" h="1153160">
                <a:moveTo>
                  <a:pt x="4434929" y="820381"/>
                </a:moveTo>
                <a:lnTo>
                  <a:pt x="4432147" y="770496"/>
                </a:lnTo>
                <a:lnTo>
                  <a:pt x="3939159" y="565873"/>
                </a:lnTo>
                <a:lnTo>
                  <a:pt x="3950297" y="528053"/>
                </a:lnTo>
                <a:lnTo>
                  <a:pt x="3970921" y="491274"/>
                </a:lnTo>
                <a:lnTo>
                  <a:pt x="3999484" y="458139"/>
                </a:lnTo>
                <a:lnTo>
                  <a:pt x="4034472" y="431253"/>
                </a:lnTo>
                <a:lnTo>
                  <a:pt x="4074376" y="413207"/>
                </a:lnTo>
                <a:lnTo>
                  <a:pt x="4117657" y="406615"/>
                </a:lnTo>
                <a:lnTo>
                  <a:pt x="4216603" y="429564"/>
                </a:lnTo>
                <a:lnTo>
                  <a:pt x="4271696" y="480047"/>
                </a:lnTo>
                <a:lnTo>
                  <a:pt x="4295533" y="530542"/>
                </a:lnTo>
                <a:lnTo>
                  <a:pt x="4300690" y="553478"/>
                </a:lnTo>
                <a:lnTo>
                  <a:pt x="4427867" y="521970"/>
                </a:lnTo>
                <a:lnTo>
                  <a:pt x="4399178" y="381825"/>
                </a:lnTo>
                <a:lnTo>
                  <a:pt x="4357052" y="309867"/>
                </a:lnTo>
                <a:lnTo>
                  <a:pt x="4272216" y="283349"/>
                </a:lnTo>
                <a:lnTo>
                  <a:pt x="4115346" y="279565"/>
                </a:lnTo>
                <a:lnTo>
                  <a:pt x="4062971" y="284022"/>
                </a:lnTo>
                <a:lnTo>
                  <a:pt x="4014508" y="296722"/>
                </a:lnTo>
                <a:lnTo>
                  <a:pt x="3970337" y="316699"/>
                </a:lnTo>
                <a:lnTo>
                  <a:pt x="3930827" y="342988"/>
                </a:lnTo>
                <a:lnTo>
                  <a:pt x="3896372" y="374611"/>
                </a:lnTo>
                <a:lnTo>
                  <a:pt x="3867340" y="410591"/>
                </a:lnTo>
                <a:lnTo>
                  <a:pt x="3844112" y="449961"/>
                </a:lnTo>
                <a:lnTo>
                  <a:pt x="3827043" y="491744"/>
                </a:lnTo>
                <a:lnTo>
                  <a:pt x="3816527" y="534974"/>
                </a:lnTo>
                <a:lnTo>
                  <a:pt x="3812946" y="578662"/>
                </a:lnTo>
                <a:lnTo>
                  <a:pt x="3813429" y="605129"/>
                </a:lnTo>
                <a:lnTo>
                  <a:pt x="3814483" y="630047"/>
                </a:lnTo>
                <a:lnTo>
                  <a:pt x="3816019" y="655802"/>
                </a:lnTo>
                <a:lnTo>
                  <a:pt x="4312196" y="839241"/>
                </a:lnTo>
                <a:lnTo>
                  <a:pt x="4305287" y="883462"/>
                </a:lnTo>
                <a:lnTo>
                  <a:pt x="4285843" y="922921"/>
                </a:lnTo>
                <a:lnTo>
                  <a:pt x="4255808" y="956170"/>
                </a:lnTo>
                <a:lnTo>
                  <a:pt x="4217162" y="981735"/>
                </a:lnTo>
                <a:lnTo>
                  <a:pt x="4171835" y="998143"/>
                </a:lnTo>
                <a:lnTo>
                  <a:pt x="4121772" y="1003935"/>
                </a:lnTo>
                <a:lnTo>
                  <a:pt x="4025646" y="979932"/>
                </a:lnTo>
                <a:lnTo>
                  <a:pt x="3970921" y="927112"/>
                </a:lnTo>
                <a:lnTo>
                  <a:pt x="3946334" y="874293"/>
                </a:lnTo>
                <a:lnTo>
                  <a:pt x="3940645" y="850277"/>
                </a:lnTo>
                <a:lnTo>
                  <a:pt x="3814965" y="883793"/>
                </a:lnTo>
                <a:lnTo>
                  <a:pt x="3844975" y="1026706"/>
                </a:lnTo>
                <a:lnTo>
                  <a:pt x="3887178" y="1100099"/>
                </a:lnTo>
                <a:lnTo>
                  <a:pt x="3970553" y="1127137"/>
                </a:lnTo>
                <a:lnTo>
                  <a:pt x="4124083" y="1130998"/>
                </a:lnTo>
                <a:lnTo>
                  <a:pt x="4175087" y="1127201"/>
                </a:lnTo>
                <a:lnTo>
                  <a:pt x="4222077" y="1116291"/>
                </a:lnTo>
                <a:lnTo>
                  <a:pt x="4264863" y="1099032"/>
                </a:lnTo>
                <a:lnTo>
                  <a:pt x="4303280" y="1076134"/>
                </a:lnTo>
                <a:lnTo>
                  <a:pt x="4337151" y="1048359"/>
                </a:lnTo>
                <a:lnTo>
                  <a:pt x="4366285" y="1016431"/>
                </a:lnTo>
                <a:lnTo>
                  <a:pt x="4390529" y="981087"/>
                </a:lnTo>
                <a:lnTo>
                  <a:pt x="4409694" y="943076"/>
                </a:lnTo>
                <a:lnTo>
                  <a:pt x="4423600" y="903122"/>
                </a:lnTo>
                <a:lnTo>
                  <a:pt x="4432071" y="861974"/>
                </a:lnTo>
                <a:lnTo>
                  <a:pt x="4434929" y="820381"/>
                </a:lnTo>
                <a:close/>
              </a:path>
              <a:path w="6922134" h="1153160">
                <a:moveTo>
                  <a:pt x="5404561" y="298259"/>
                </a:moveTo>
                <a:lnTo>
                  <a:pt x="5277497" y="298259"/>
                </a:lnTo>
                <a:lnTo>
                  <a:pt x="5277497" y="400329"/>
                </a:lnTo>
                <a:lnTo>
                  <a:pt x="5242966" y="370116"/>
                </a:lnTo>
                <a:lnTo>
                  <a:pt x="5205298" y="343712"/>
                </a:lnTo>
                <a:lnTo>
                  <a:pt x="5164798" y="321424"/>
                </a:lnTo>
                <a:lnTo>
                  <a:pt x="5121757" y="303568"/>
                </a:lnTo>
                <a:lnTo>
                  <a:pt x="5076507" y="290436"/>
                </a:lnTo>
                <a:lnTo>
                  <a:pt x="5029327" y="282321"/>
                </a:lnTo>
                <a:lnTo>
                  <a:pt x="4980521" y="279552"/>
                </a:lnTo>
                <a:lnTo>
                  <a:pt x="4934140" y="282054"/>
                </a:lnTo>
                <a:lnTo>
                  <a:pt x="4889195" y="289369"/>
                </a:lnTo>
                <a:lnTo>
                  <a:pt x="4845964" y="301256"/>
                </a:lnTo>
                <a:lnTo>
                  <a:pt x="4804689" y="317449"/>
                </a:lnTo>
                <a:lnTo>
                  <a:pt x="4765649" y="337680"/>
                </a:lnTo>
                <a:lnTo>
                  <a:pt x="4729099" y="361696"/>
                </a:lnTo>
                <a:lnTo>
                  <a:pt x="4695291" y="389242"/>
                </a:lnTo>
                <a:lnTo>
                  <a:pt x="4664481" y="420039"/>
                </a:lnTo>
                <a:lnTo>
                  <a:pt x="4636948" y="453847"/>
                </a:lnTo>
                <a:lnTo>
                  <a:pt x="4612932" y="490410"/>
                </a:lnTo>
                <a:lnTo>
                  <a:pt x="4592701" y="529450"/>
                </a:lnTo>
                <a:lnTo>
                  <a:pt x="4576508" y="570712"/>
                </a:lnTo>
                <a:lnTo>
                  <a:pt x="4564621" y="613956"/>
                </a:lnTo>
                <a:lnTo>
                  <a:pt x="4557306" y="658888"/>
                </a:lnTo>
                <a:lnTo>
                  <a:pt x="4554804" y="705281"/>
                </a:lnTo>
                <a:lnTo>
                  <a:pt x="4557306" y="751662"/>
                </a:lnTo>
                <a:lnTo>
                  <a:pt x="4564621" y="796607"/>
                </a:lnTo>
                <a:lnTo>
                  <a:pt x="4576508" y="839838"/>
                </a:lnTo>
                <a:lnTo>
                  <a:pt x="4592701" y="881100"/>
                </a:lnTo>
                <a:lnTo>
                  <a:pt x="4612932" y="920140"/>
                </a:lnTo>
                <a:lnTo>
                  <a:pt x="4636948" y="956703"/>
                </a:lnTo>
                <a:lnTo>
                  <a:pt x="4664481" y="990511"/>
                </a:lnTo>
                <a:lnTo>
                  <a:pt x="4695291" y="1021321"/>
                </a:lnTo>
                <a:lnTo>
                  <a:pt x="4729099" y="1048854"/>
                </a:lnTo>
                <a:lnTo>
                  <a:pt x="4765649" y="1072870"/>
                </a:lnTo>
                <a:lnTo>
                  <a:pt x="4804689" y="1093101"/>
                </a:lnTo>
                <a:lnTo>
                  <a:pt x="4845964" y="1109294"/>
                </a:lnTo>
                <a:lnTo>
                  <a:pt x="4889195" y="1121168"/>
                </a:lnTo>
                <a:lnTo>
                  <a:pt x="4934140" y="1128496"/>
                </a:lnTo>
                <a:lnTo>
                  <a:pt x="4980521" y="1130998"/>
                </a:lnTo>
                <a:lnTo>
                  <a:pt x="5032324" y="1127874"/>
                </a:lnTo>
                <a:lnTo>
                  <a:pt x="5082273" y="1118755"/>
                </a:lnTo>
                <a:lnTo>
                  <a:pt x="5130012" y="1104011"/>
                </a:lnTo>
                <a:lnTo>
                  <a:pt x="5175174" y="1083983"/>
                </a:lnTo>
                <a:lnTo>
                  <a:pt x="5217401" y="1059065"/>
                </a:lnTo>
                <a:lnTo>
                  <a:pt x="5146700" y="953477"/>
                </a:lnTo>
                <a:lnTo>
                  <a:pt x="5109349" y="974801"/>
                </a:lnTo>
                <a:lnTo>
                  <a:pt x="5068862" y="990663"/>
                </a:lnTo>
                <a:lnTo>
                  <a:pt x="5025758" y="1000544"/>
                </a:lnTo>
                <a:lnTo>
                  <a:pt x="4980521" y="1003947"/>
                </a:lnTo>
                <a:lnTo>
                  <a:pt x="4932083" y="1000036"/>
                </a:lnTo>
                <a:lnTo>
                  <a:pt x="4886122" y="988720"/>
                </a:lnTo>
                <a:lnTo>
                  <a:pt x="4843272" y="970610"/>
                </a:lnTo>
                <a:lnTo>
                  <a:pt x="4804143" y="946315"/>
                </a:lnTo>
                <a:lnTo>
                  <a:pt x="4769332" y="916470"/>
                </a:lnTo>
                <a:lnTo>
                  <a:pt x="4739487" y="881659"/>
                </a:lnTo>
                <a:lnTo>
                  <a:pt x="4715205" y="842530"/>
                </a:lnTo>
                <a:lnTo>
                  <a:pt x="4697095" y="799680"/>
                </a:lnTo>
                <a:lnTo>
                  <a:pt x="4685779" y="753719"/>
                </a:lnTo>
                <a:lnTo>
                  <a:pt x="4681867" y="705281"/>
                </a:lnTo>
                <a:lnTo>
                  <a:pt x="4685779" y="656831"/>
                </a:lnTo>
                <a:lnTo>
                  <a:pt x="4697095" y="610882"/>
                </a:lnTo>
                <a:lnTo>
                  <a:pt x="4715205" y="568032"/>
                </a:lnTo>
                <a:lnTo>
                  <a:pt x="4739487" y="528891"/>
                </a:lnTo>
                <a:lnTo>
                  <a:pt x="4769332" y="494093"/>
                </a:lnTo>
                <a:lnTo>
                  <a:pt x="4804143" y="464235"/>
                </a:lnTo>
                <a:lnTo>
                  <a:pt x="4843272" y="439953"/>
                </a:lnTo>
                <a:lnTo>
                  <a:pt x="4886122" y="421843"/>
                </a:lnTo>
                <a:lnTo>
                  <a:pt x="4932083" y="410527"/>
                </a:lnTo>
                <a:lnTo>
                  <a:pt x="4980521" y="406615"/>
                </a:lnTo>
                <a:lnTo>
                  <a:pt x="5030813" y="410832"/>
                </a:lnTo>
                <a:lnTo>
                  <a:pt x="5078387" y="423011"/>
                </a:lnTo>
                <a:lnTo>
                  <a:pt x="5122557" y="442480"/>
                </a:lnTo>
                <a:lnTo>
                  <a:pt x="5162626" y="468553"/>
                </a:lnTo>
                <a:lnTo>
                  <a:pt x="5197932" y="500507"/>
                </a:lnTo>
                <a:lnTo>
                  <a:pt x="5227752" y="537692"/>
                </a:lnTo>
                <a:lnTo>
                  <a:pt x="5251412" y="579386"/>
                </a:lnTo>
                <a:lnTo>
                  <a:pt x="5268226" y="624916"/>
                </a:lnTo>
                <a:lnTo>
                  <a:pt x="5277497" y="673595"/>
                </a:lnTo>
                <a:lnTo>
                  <a:pt x="5277497" y="1118082"/>
                </a:lnTo>
                <a:lnTo>
                  <a:pt x="5404561" y="1118082"/>
                </a:lnTo>
                <a:lnTo>
                  <a:pt x="5404561" y="298259"/>
                </a:lnTo>
                <a:close/>
              </a:path>
              <a:path w="6922134" h="1153160">
                <a:moveTo>
                  <a:pt x="6474777" y="838352"/>
                </a:moveTo>
                <a:lnTo>
                  <a:pt x="6384925" y="748499"/>
                </a:lnTo>
                <a:lnTo>
                  <a:pt x="6070676" y="1062748"/>
                </a:lnTo>
                <a:lnTo>
                  <a:pt x="6160528" y="1152601"/>
                </a:lnTo>
                <a:lnTo>
                  <a:pt x="6474777" y="838352"/>
                </a:lnTo>
                <a:close/>
              </a:path>
              <a:path w="6922134" h="1153160">
                <a:moveTo>
                  <a:pt x="6474777" y="615886"/>
                </a:moveTo>
                <a:lnTo>
                  <a:pt x="6160528" y="301637"/>
                </a:lnTo>
                <a:lnTo>
                  <a:pt x="6070676" y="391477"/>
                </a:lnTo>
                <a:lnTo>
                  <a:pt x="6384938" y="705726"/>
                </a:lnTo>
                <a:lnTo>
                  <a:pt x="6474777" y="615886"/>
                </a:lnTo>
                <a:close/>
              </a:path>
              <a:path w="6922134" h="1153160">
                <a:moveTo>
                  <a:pt x="6921640" y="1062748"/>
                </a:moveTo>
                <a:lnTo>
                  <a:pt x="6607391" y="748499"/>
                </a:lnTo>
                <a:lnTo>
                  <a:pt x="6517551" y="838352"/>
                </a:lnTo>
                <a:lnTo>
                  <a:pt x="6831800" y="1152601"/>
                </a:lnTo>
                <a:lnTo>
                  <a:pt x="6921640" y="1062748"/>
                </a:lnTo>
                <a:close/>
              </a:path>
              <a:path w="6922134" h="1153160">
                <a:moveTo>
                  <a:pt x="6921640" y="391477"/>
                </a:moveTo>
                <a:lnTo>
                  <a:pt x="6831800" y="301637"/>
                </a:lnTo>
                <a:lnTo>
                  <a:pt x="6517551" y="615886"/>
                </a:lnTo>
                <a:lnTo>
                  <a:pt x="6607391" y="705726"/>
                </a:lnTo>
                <a:lnTo>
                  <a:pt x="6921640" y="3914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41621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>
            <a:extLst>
              <a:ext uri="{FF2B5EF4-FFF2-40B4-BE49-F238E27FC236}">
                <a16:creationId xmlns:a16="http://schemas.microsoft.com/office/drawing/2014/main" id="{14C8B334-D35F-A657-9400-D86995959675}"/>
              </a:ext>
            </a:extLst>
          </p:cNvPr>
          <p:cNvSpPr/>
          <p:nvPr/>
        </p:nvSpPr>
        <p:spPr>
          <a:xfrm>
            <a:off x="22296863" y="8839194"/>
            <a:ext cx="1375924" cy="403811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7D5C1461-D429-7D69-B71B-2E14BF479D19}"/>
              </a:ext>
            </a:extLst>
          </p:cNvPr>
          <p:cNvSpPr/>
          <p:nvPr/>
        </p:nvSpPr>
        <p:spPr>
          <a:xfrm>
            <a:off x="23909912" y="8839194"/>
            <a:ext cx="1781316" cy="40716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56045420-930A-7AD1-03B7-0FC61F6E198E}"/>
              </a:ext>
            </a:extLst>
          </p:cNvPr>
          <p:cNvSpPr/>
          <p:nvPr/>
        </p:nvSpPr>
        <p:spPr>
          <a:xfrm>
            <a:off x="25871486" y="8817498"/>
            <a:ext cx="2079409" cy="4081379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75F516B5-BBA0-3C00-CC49-2A864453B68D}"/>
              </a:ext>
            </a:extLst>
          </p:cNvPr>
          <p:cNvSpPr/>
          <p:nvPr/>
        </p:nvSpPr>
        <p:spPr>
          <a:xfrm>
            <a:off x="28336630" y="8784267"/>
            <a:ext cx="3326056" cy="4105082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007366"/>
              </p:ext>
            </p:extLst>
          </p:nvPr>
        </p:nvGraphicFramePr>
        <p:xfrm>
          <a:off x="4831" y="4655"/>
          <a:ext cx="4655" cy="4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384" imgH="385" progId="TCLayout.ActiveDocument.1">
                  <p:embed/>
                </p:oleObj>
              </mc:Choice>
              <mc:Fallback>
                <p:oleObj name="Diapositiva de think-cell" r:id="rId5" imgW="384" imgH="385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831" y="4655"/>
                        <a:ext cx="4655" cy="4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ángulo 47">
            <a:extLst>
              <a:ext uri="{FF2B5EF4-FFF2-40B4-BE49-F238E27FC236}">
                <a16:creationId xmlns:a16="http://schemas.microsoft.com/office/drawing/2014/main" id="{AA24EB6F-4526-31BD-DD82-2F9D40F39EC8}"/>
              </a:ext>
            </a:extLst>
          </p:cNvPr>
          <p:cNvSpPr/>
          <p:nvPr/>
        </p:nvSpPr>
        <p:spPr>
          <a:xfrm>
            <a:off x="176" y="15917332"/>
            <a:ext cx="35740605" cy="4186767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 sz="5277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33663692-9686-52A7-ED2C-60E5BEA4DF0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1933" y="6352916"/>
            <a:ext cx="10254973" cy="773649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05CB5835-204F-F1FF-0C4C-FCAD125D5F45}"/>
              </a:ext>
            </a:extLst>
          </p:cNvPr>
          <p:cNvSpPr txBox="1"/>
          <p:nvPr/>
        </p:nvSpPr>
        <p:spPr>
          <a:xfrm>
            <a:off x="2428600" y="14316439"/>
            <a:ext cx="12737006" cy="543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2932" i="1">
                <a:solidFill>
                  <a:srgbClr val="0E141A"/>
                </a:solidFill>
                <a:latin typeface="+mj-lt"/>
              </a:rPr>
              <a:t>Sustainable Paths for EU Increased Climate and Energy Ambition</a:t>
            </a:r>
            <a:r>
              <a:rPr lang="ca-ES" sz="2345" i="1">
                <a:solidFill>
                  <a:srgbClr val="0E141A"/>
                </a:solidFill>
                <a:latin typeface="+mj-lt"/>
              </a:rPr>
              <a:t>.</a:t>
            </a:r>
            <a:endParaRPr lang="ca-ES" sz="2345" i="1">
              <a:latin typeface="+mj-lt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E61E9041-8052-FA31-8ECB-424BC957F36D}"/>
              </a:ext>
            </a:extLst>
          </p:cNvPr>
          <p:cNvSpPr txBox="1"/>
          <p:nvPr/>
        </p:nvSpPr>
        <p:spPr>
          <a:xfrm>
            <a:off x="3815924" y="4818999"/>
            <a:ext cx="11636952" cy="225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7036" b="1">
                <a:solidFill>
                  <a:schemeClr val="tx2"/>
                </a:solidFill>
              </a:rPr>
              <a:t>Energia en la indústria
</a:t>
            </a:r>
          </a:p>
        </p:txBody>
      </p:sp>
      <p:sp>
        <p:nvSpPr>
          <p:cNvPr id="3" name="Corchetes 2">
            <a:extLst>
              <a:ext uri="{FF2B5EF4-FFF2-40B4-BE49-F238E27FC236}">
                <a16:creationId xmlns:a16="http://schemas.microsoft.com/office/drawing/2014/main" id="{4E26CEAF-F65D-2DBF-BCFC-7F118F0F089A}"/>
              </a:ext>
            </a:extLst>
          </p:cNvPr>
          <p:cNvSpPr/>
          <p:nvPr/>
        </p:nvSpPr>
        <p:spPr>
          <a:xfrm>
            <a:off x="10534987" y="9580040"/>
            <a:ext cx="3068300" cy="2834210"/>
          </a:xfrm>
          <a:prstGeom prst="bracketPair">
            <a:avLst>
              <a:gd name="adj" fmla="val 9095"/>
            </a:avLst>
          </a:prstGeom>
          <a:ln w="1270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a-ES" sz="5277"/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FAD98E3-1F1D-4648-E331-3C8C8C970346}"/>
              </a:ext>
            </a:extLst>
          </p:cNvPr>
          <p:cNvSpPr txBox="1"/>
          <p:nvPr/>
        </p:nvSpPr>
        <p:spPr>
          <a:xfrm>
            <a:off x="408018" y="17619271"/>
            <a:ext cx="31410900" cy="2618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8208" b="1" i="1">
                <a:solidFill>
                  <a:schemeClr val="bg1"/>
                </a:solidFill>
              </a:rPr>
              <a:t>74% </a:t>
            </a:r>
            <a:r>
              <a:rPr lang="ca-ES" sz="5277" i="1">
                <a:solidFill>
                  <a:schemeClr val="bg1"/>
                </a:solidFill>
              </a:rPr>
              <a:t>en </a:t>
            </a:r>
            <a:r>
              <a:rPr lang="ca-ES" sz="8208" i="1">
                <a:solidFill>
                  <a:schemeClr val="bg1"/>
                </a:solidFill>
              </a:rPr>
              <a:t>2030              </a:t>
            </a:r>
            <a:r>
              <a:rPr lang="ca-ES" sz="8208" b="1" i="1">
                <a:solidFill>
                  <a:schemeClr val="bg1"/>
                </a:solidFill>
              </a:rPr>
              <a:t>100 %</a:t>
            </a:r>
            <a:r>
              <a:rPr lang="ca-ES" sz="8208" i="1">
                <a:solidFill>
                  <a:schemeClr val="bg1"/>
                </a:solidFill>
              </a:rPr>
              <a:t> </a:t>
            </a:r>
            <a:r>
              <a:rPr lang="ca-ES" sz="5277" i="1">
                <a:solidFill>
                  <a:schemeClr val="bg1"/>
                </a:solidFill>
              </a:rPr>
              <a:t>en </a:t>
            </a:r>
            <a:r>
              <a:rPr lang="ca-ES" sz="8208" i="1">
                <a:solidFill>
                  <a:schemeClr val="bg1"/>
                </a:solidFill>
              </a:rPr>
              <a:t>2050</a:t>
            </a:r>
          </a:p>
          <a:p>
            <a:pPr algn="ctr"/>
            <a:r>
              <a:rPr lang="ca-ES" sz="2932" i="1">
                <a:solidFill>
                  <a:schemeClr val="bg1"/>
                </a:solidFill>
                <a:latin typeface="+mj-lt"/>
              </a:rPr>
              <a:t>PNIEC: generació elèctrica renovable</a:t>
            </a:r>
          </a:p>
          <a:p>
            <a:pPr algn="ctr"/>
            <a:endParaRPr lang="ca-ES" sz="5277" i="1">
              <a:solidFill>
                <a:schemeClr val="bg1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791E5435-7AB1-081F-3A76-66B6440C474A}"/>
              </a:ext>
            </a:extLst>
          </p:cNvPr>
          <p:cNvSpPr txBox="1"/>
          <p:nvPr/>
        </p:nvSpPr>
        <p:spPr>
          <a:xfrm>
            <a:off x="16648075" y="13684266"/>
            <a:ext cx="1813940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a-ES" sz="5400">
                <a:solidFill>
                  <a:srgbClr val="461E7D"/>
                </a:solidFill>
                <a:latin typeface="Roobert ENEL" panose="00000500000000000000"/>
              </a:rPr>
              <a:t>Les calderes elèctriques de vapor ja són una solució viable per a l' electrificació de processos d' alta temperatura i pressió.
</a:t>
            </a:r>
            <a:endParaRPr lang="ca-ES" sz="4800" b="1">
              <a:solidFill>
                <a:srgbClr val="FF7823"/>
              </a:solidFill>
              <a:latin typeface="Roobert ENEL" panose="00000500000000000000"/>
            </a:endParaRPr>
          </a:p>
        </p:txBody>
      </p:sp>
      <p:pic>
        <p:nvPicPr>
          <p:cNvPr id="11" name="Graphique 6" descr="Factory">
            <a:extLst>
              <a:ext uri="{FF2B5EF4-FFF2-40B4-BE49-F238E27FC236}">
                <a16:creationId xmlns:a16="http://schemas.microsoft.com/office/drawing/2014/main" id="{7938E72B-176C-FD3A-5FD7-818C6313A1B7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01231" y="3944321"/>
            <a:ext cx="2164206" cy="2164198"/>
          </a:xfrm>
          <a:prstGeom prst="rect">
            <a:avLst/>
          </a:prstGeom>
        </p:spPr>
      </p:pic>
      <p:pic>
        <p:nvPicPr>
          <p:cNvPr id="20" name="Gráfico 19" descr="Insignia 3 con relleno sólido">
            <a:extLst>
              <a:ext uri="{FF2B5EF4-FFF2-40B4-BE49-F238E27FC236}">
                <a16:creationId xmlns:a16="http://schemas.microsoft.com/office/drawing/2014/main" id="{DE454EE2-7120-3B55-4BD6-CF3089CDC27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850386" y="6419834"/>
            <a:ext cx="2431350" cy="2431350"/>
          </a:xfrm>
          <a:prstGeom prst="rect">
            <a:avLst/>
          </a:prstGeom>
        </p:spPr>
      </p:pic>
      <p:pic>
        <p:nvPicPr>
          <p:cNvPr id="24" name="Gráfico 23" descr="Insignia 1 con relleno sólido">
            <a:extLst>
              <a:ext uri="{FF2B5EF4-FFF2-40B4-BE49-F238E27FC236}">
                <a16:creationId xmlns:a16="http://schemas.microsoft.com/office/drawing/2014/main" id="{E3168B0F-22AC-41A0-1557-D14562BDEB4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52487" y="6352917"/>
            <a:ext cx="2431350" cy="2431350"/>
          </a:xfrm>
          <a:prstGeom prst="rect">
            <a:avLst/>
          </a:prstGeom>
        </p:spPr>
      </p:pic>
      <p:cxnSp>
        <p:nvCxnSpPr>
          <p:cNvPr id="25" name="Conector recto 24">
            <a:extLst>
              <a:ext uri="{FF2B5EF4-FFF2-40B4-BE49-F238E27FC236}">
                <a16:creationId xmlns:a16="http://schemas.microsoft.com/office/drawing/2014/main" id="{3B2BDF38-0389-045D-003E-6490AF671C8A}"/>
              </a:ext>
            </a:extLst>
          </p:cNvPr>
          <p:cNvCxnSpPr>
            <a:cxnSpLocks/>
          </p:cNvCxnSpPr>
          <p:nvPr/>
        </p:nvCxnSpPr>
        <p:spPr>
          <a:xfrm>
            <a:off x="15409881" y="5223630"/>
            <a:ext cx="0" cy="9814600"/>
          </a:xfrm>
          <a:prstGeom prst="line">
            <a:avLst/>
          </a:prstGeom>
          <a:ln w="9525">
            <a:solidFill>
              <a:srgbClr val="461E7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Gráfico 28" descr="Insignia con relleno sólido">
            <a:extLst>
              <a:ext uri="{FF2B5EF4-FFF2-40B4-BE49-F238E27FC236}">
                <a16:creationId xmlns:a16="http://schemas.microsoft.com/office/drawing/2014/main" id="{6AA3ABCD-A495-F72A-0725-5427E037C88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63974" y="17064918"/>
            <a:ext cx="2431350" cy="2431350"/>
          </a:xfrm>
          <a:prstGeom prst="rect">
            <a:avLst/>
          </a:prstGeom>
        </p:spPr>
      </p:pic>
      <p:sp>
        <p:nvSpPr>
          <p:cNvPr id="30" name="CuadroTexto 29">
            <a:extLst>
              <a:ext uri="{FF2B5EF4-FFF2-40B4-BE49-F238E27FC236}">
                <a16:creationId xmlns:a16="http://schemas.microsoft.com/office/drawing/2014/main" id="{99856F35-A4F2-1FFF-69B2-8A8C7CCCA7A1}"/>
              </a:ext>
            </a:extLst>
          </p:cNvPr>
          <p:cNvSpPr txBox="1"/>
          <p:nvPr/>
        </p:nvSpPr>
        <p:spPr>
          <a:xfrm>
            <a:off x="11936933" y="16355560"/>
            <a:ext cx="13339212" cy="1175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7036" b="1">
                <a:solidFill>
                  <a:schemeClr val="bg1"/>
                </a:solidFill>
              </a:rPr>
              <a:t>Origen Renovable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F87B4B1-BC50-D850-D616-67A233EF6EEB}"/>
              </a:ext>
            </a:extLst>
          </p:cNvPr>
          <p:cNvSpPr txBox="1"/>
          <p:nvPr/>
        </p:nvSpPr>
        <p:spPr>
          <a:xfrm>
            <a:off x="22304374" y="4749290"/>
            <a:ext cx="7722000" cy="1175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7036" b="1">
                <a:solidFill>
                  <a:schemeClr val="tx2"/>
                </a:solidFill>
              </a:rPr>
              <a:t>Tecnologia </a:t>
            </a:r>
          </a:p>
        </p:txBody>
      </p:sp>
      <p:pic>
        <p:nvPicPr>
          <p:cNvPr id="37" name="Gráfico 36" descr="Flecha: recto con relleno sólido">
            <a:extLst>
              <a:ext uri="{FF2B5EF4-FFF2-40B4-BE49-F238E27FC236}">
                <a16:creationId xmlns:a16="http://schemas.microsoft.com/office/drawing/2014/main" id="{68169F1D-F860-7031-6D58-1A3124E03A4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0800000">
            <a:off x="14406946" y="17234662"/>
            <a:ext cx="2091861" cy="2091861"/>
          </a:xfrm>
          <a:prstGeom prst="rect">
            <a:avLst/>
          </a:prstGeom>
        </p:spPr>
      </p:pic>
      <p:pic>
        <p:nvPicPr>
          <p:cNvPr id="50" name="Gráfico 49" descr="Mano abierta con planta con relleno sólido">
            <a:extLst>
              <a:ext uri="{FF2B5EF4-FFF2-40B4-BE49-F238E27FC236}">
                <a16:creationId xmlns:a16="http://schemas.microsoft.com/office/drawing/2014/main" id="{D6FB0DCA-A66A-8389-DCDA-AA25A08B3BF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2569534" y="15939510"/>
            <a:ext cx="1884940" cy="1884940"/>
          </a:xfrm>
          <a:prstGeom prst="rect">
            <a:avLst/>
          </a:prstGeom>
        </p:spPr>
      </p:pic>
      <p:sp>
        <p:nvSpPr>
          <p:cNvPr id="7" name="object 4">
            <a:extLst>
              <a:ext uri="{FF2B5EF4-FFF2-40B4-BE49-F238E27FC236}">
                <a16:creationId xmlns:a16="http://schemas.microsoft.com/office/drawing/2014/main" id="{1A719528-FB08-C2EB-40C7-A15DA57887C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279649" y="1263132"/>
            <a:ext cx="23591838" cy="2784736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lang="ca-ES" sz="12000" spc="55">
                <a:solidFill>
                  <a:srgbClr val="461E7D"/>
                </a:solidFill>
                <a:latin typeface="Roobert ENEL" panose="00000500000000000000" pitchFamily="50" charset="0"/>
              </a:rPr>
              <a:t>Electrificació</a:t>
            </a:r>
            <a:br>
              <a:rPr lang="ca-ES" sz="12000" spc="55">
                <a:solidFill>
                  <a:srgbClr val="461E7D"/>
                </a:solidFill>
                <a:latin typeface="Roobert ENEL" panose="00000500000000000000" pitchFamily="50" charset="0"/>
              </a:rPr>
            </a:br>
            <a:r>
              <a:rPr lang="ca-ES" sz="6000" b="0" spc="55">
                <a:solidFill>
                  <a:srgbClr val="461E7D"/>
                </a:solidFill>
                <a:latin typeface="Roobert ENEL" panose="00000500000000000000" pitchFamily="50" charset="0"/>
              </a:rPr>
              <a:t>Necessària i viable</a:t>
            </a:r>
            <a:endParaRPr lang="ca-ES" sz="6000" b="0" spc="5">
              <a:solidFill>
                <a:srgbClr val="461E7D"/>
              </a:solidFill>
              <a:latin typeface="Roobert ENEL" panose="00000500000000000000" pitchFamily="50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1DC6DE83-2906-07DD-8D10-B4144E96C842}"/>
              </a:ext>
            </a:extLst>
          </p:cNvPr>
          <p:cNvSpPr txBox="1"/>
          <p:nvPr/>
        </p:nvSpPr>
        <p:spPr>
          <a:xfrm>
            <a:off x="28336630" y="6961045"/>
            <a:ext cx="20794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4000" b="1"/>
              <a:t>Vapor AP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CBC47578-17CB-62EF-4762-0EE87381FE45}"/>
              </a:ext>
            </a:extLst>
          </p:cNvPr>
          <p:cNvSpPr txBox="1"/>
          <p:nvPr/>
        </p:nvSpPr>
        <p:spPr>
          <a:xfrm>
            <a:off x="26019240" y="6944117"/>
            <a:ext cx="20794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4000" b="1"/>
              <a:t>Vapor BP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id="{AD955E7B-D0CE-9BAF-CBBE-064587CF1913}"/>
              </a:ext>
            </a:extLst>
          </p:cNvPr>
          <p:cNvSpPr txBox="1"/>
          <p:nvPr/>
        </p:nvSpPr>
        <p:spPr>
          <a:xfrm>
            <a:off x="24081377" y="6980553"/>
            <a:ext cx="20794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4000" b="1"/>
              <a:t>Ag.Cal</a:t>
            </a:r>
          </a:p>
          <a:p>
            <a:pPr algn="ctr"/>
            <a:r>
              <a:rPr lang="ca-ES" sz="4000" b="1"/>
              <a:t>Alta Tª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E58ADD61-9D46-46D4-5E30-493EE03ED164}"/>
              </a:ext>
            </a:extLst>
          </p:cNvPr>
          <p:cNvSpPr txBox="1"/>
          <p:nvPr/>
        </p:nvSpPr>
        <p:spPr>
          <a:xfrm>
            <a:off x="22143514" y="6987082"/>
            <a:ext cx="20794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4000" b="1"/>
              <a:t>Ag.Cal</a:t>
            </a:r>
          </a:p>
          <a:p>
            <a:pPr algn="ctr"/>
            <a:r>
              <a:rPr lang="ca-ES" sz="4000" b="1"/>
              <a:t>Baja Tª</a:t>
            </a: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B0DE3E8B-E2ED-3B1E-E7DB-BCA5834D75BF}"/>
              </a:ext>
            </a:extLst>
          </p:cNvPr>
          <p:cNvSpPr/>
          <p:nvPr/>
        </p:nvSpPr>
        <p:spPr>
          <a:xfrm>
            <a:off x="22583167" y="11361882"/>
            <a:ext cx="3747368" cy="12227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3600"/>
              <a:t>Bomba de calor</a:t>
            </a:r>
          </a:p>
        </p:txBody>
      </p:sp>
      <p:sp>
        <p:nvSpPr>
          <p:cNvPr id="19" name="Elipse 18">
            <a:extLst>
              <a:ext uri="{FF2B5EF4-FFF2-40B4-BE49-F238E27FC236}">
                <a16:creationId xmlns:a16="http://schemas.microsoft.com/office/drawing/2014/main" id="{393BCEFB-84CF-7402-E7CB-466BAAB7C907}"/>
              </a:ext>
            </a:extLst>
          </p:cNvPr>
          <p:cNvSpPr/>
          <p:nvPr/>
        </p:nvSpPr>
        <p:spPr>
          <a:xfrm>
            <a:off x="24383785" y="9360190"/>
            <a:ext cx="6846318" cy="12227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a-ES" sz="4400">
                <a:solidFill>
                  <a:schemeClr val="bg1"/>
                </a:solidFill>
              </a:rPr>
              <a:t>Caldera elèctrica 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E3540EC7-FBD5-5906-D285-E04DE08DCD6F}"/>
              </a:ext>
            </a:extLst>
          </p:cNvPr>
          <p:cNvSpPr txBox="1"/>
          <p:nvPr/>
        </p:nvSpPr>
        <p:spPr>
          <a:xfrm>
            <a:off x="17526510" y="7461081"/>
            <a:ext cx="425547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a-ES" sz="4800" b="1">
                <a:solidFill>
                  <a:schemeClr val="tx2"/>
                </a:solidFill>
              </a:rPr>
              <a:t>Aplicación</a:t>
            </a:r>
            <a:endParaRPr lang="ca-ES" sz="7036" b="1">
              <a:solidFill>
                <a:schemeClr val="tx2"/>
              </a:solidFill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60769C8A-850B-F602-E42E-6761D3533217}"/>
              </a:ext>
            </a:extLst>
          </p:cNvPr>
          <p:cNvSpPr txBox="1"/>
          <p:nvPr/>
        </p:nvSpPr>
        <p:spPr>
          <a:xfrm>
            <a:off x="17780117" y="11347450"/>
            <a:ext cx="425547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a-ES" sz="4400" b="1">
                <a:solidFill>
                  <a:schemeClr val="tx2"/>
                </a:solidFill>
              </a:rPr>
              <a:t>Tecnologia electrificació
</a:t>
            </a:r>
            <a:endParaRPr lang="ca-ES" sz="6600" b="1">
              <a:solidFill>
                <a:schemeClr val="tx2"/>
              </a:solidFill>
            </a:endParaRPr>
          </a:p>
        </p:txBody>
      </p: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id="{9D2F5716-AFA8-D410-F952-B876B26F8EF2}"/>
              </a:ext>
            </a:extLst>
          </p:cNvPr>
          <p:cNvCxnSpPr/>
          <p:nvPr/>
        </p:nvCxnSpPr>
        <p:spPr>
          <a:xfrm>
            <a:off x="22304374" y="13328650"/>
            <a:ext cx="950914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CuadroTexto 37">
            <a:extLst>
              <a:ext uri="{FF2B5EF4-FFF2-40B4-BE49-F238E27FC236}">
                <a16:creationId xmlns:a16="http://schemas.microsoft.com/office/drawing/2014/main" id="{2DDBFA60-25E9-B4ED-5A80-792EC30B5DA4}"/>
              </a:ext>
            </a:extLst>
          </p:cNvPr>
          <p:cNvSpPr txBox="1"/>
          <p:nvPr/>
        </p:nvSpPr>
        <p:spPr>
          <a:xfrm>
            <a:off x="17780117" y="12968203"/>
            <a:ext cx="425547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a-ES" sz="4400" b="1">
                <a:solidFill>
                  <a:schemeClr val="tx2"/>
                </a:solidFill>
              </a:rPr>
              <a:t>Tª</a:t>
            </a:r>
            <a:endParaRPr lang="ca-ES" sz="6600" b="1">
              <a:solidFill>
                <a:schemeClr val="tx2"/>
              </a:solidFill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9F4809E7-C502-8879-1B8D-8317D6FFB641}"/>
              </a:ext>
            </a:extLst>
          </p:cNvPr>
          <p:cNvSpPr txBox="1"/>
          <p:nvPr/>
        </p:nvSpPr>
        <p:spPr>
          <a:xfrm>
            <a:off x="31230103" y="13365087"/>
            <a:ext cx="11668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4000" b="1">
                <a:solidFill>
                  <a:schemeClr val="tx2"/>
                </a:solidFill>
              </a:rPr>
              <a:t>+</a:t>
            </a:r>
          </a:p>
        </p:txBody>
      </p:sp>
      <p:pic>
        <p:nvPicPr>
          <p:cNvPr id="43" name="Imagen 42">
            <a:extLst>
              <a:ext uri="{FF2B5EF4-FFF2-40B4-BE49-F238E27FC236}">
                <a16:creationId xmlns:a16="http://schemas.microsoft.com/office/drawing/2014/main" id="{6F37D1CE-D31D-0089-62C8-39AF9C905943}"/>
              </a:ext>
            </a:extLst>
          </p:cNvPr>
          <p:cNvPicPr>
            <a:picLocks noChangeAspect="1"/>
          </p:cNvPicPr>
          <p:nvPr/>
        </p:nvPicPr>
        <p:blipFill>
          <a:blip r:embed="rId20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8606539" y="4047052"/>
            <a:ext cx="1755195" cy="1755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3164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08943"/>
              </p:ext>
            </p:extLst>
          </p:nvPr>
        </p:nvGraphicFramePr>
        <p:xfrm>
          <a:off x="4831" y="4655"/>
          <a:ext cx="4655" cy="4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84" imgH="385" progId="TCLayout.ActiveDocument.1">
                  <p:embed/>
                </p:oleObj>
              </mc:Choice>
              <mc:Fallback>
                <p:oleObj name="Diapositiva de think-cell" r:id="rId4" imgW="384" imgH="385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831" y="4655"/>
                        <a:ext cx="4655" cy="4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ángulo 47">
            <a:extLst>
              <a:ext uri="{FF2B5EF4-FFF2-40B4-BE49-F238E27FC236}">
                <a16:creationId xmlns:a16="http://schemas.microsoft.com/office/drawing/2014/main" id="{8F7BAD63-65B0-9FAA-FC72-074F9F89D36C}"/>
              </a:ext>
            </a:extLst>
          </p:cNvPr>
          <p:cNvSpPr/>
          <p:nvPr/>
        </p:nvSpPr>
        <p:spPr>
          <a:xfrm>
            <a:off x="178" y="4260850"/>
            <a:ext cx="35740613" cy="177289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77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7250A78-1F5B-F6FB-203E-8A994FE784E0}"/>
              </a:ext>
            </a:extLst>
          </p:cNvPr>
          <p:cNvSpPr txBox="1"/>
          <p:nvPr/>
        </p:nvSpPr>
        <p:spPr>
          <a:xfrm>
            <a:off x="14178023" y="4460463"/>
            <a:ext cx="7722000" cy="1175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7036" b="1" dirty="0">
                <a:solidFill>
                  <a:schemeClr val="bg1"/>
                </a:solidFill>
              </a:rPr>
              <a:t>Avantatges</a:t>
            </a:r>
          </a:p>
        </p:txBody>
      </p:sp>
      <p:pic>
        <p:nvPicPr>
          <p:cNvPr id="9" name="Gráfico 8" descr="Semáforo con relleno sólido">
            <a:extLst>
              <a:ext uri="{FF2B5EF4-FFF2-40B4-BE49-F238E27FC236}">
                <a16:creationId xmlns:a16="http://schemas.microsoft.com/office/drawing/2014/main" id="{ED50D323-1526-1D22-1B47-DB9A5C982C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145356" y="4147895"/>
            <a:ext cx="1978495" cy="1978495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EBF88937-64EB-3938-C91A-63BA51926553}"/>
              </a:ext>
            </a:extLst>
          </p:cNvPr>
          <p:cNvSpPr/>
          <p:nvPr/>
        </p:nvSpPr>
        <p:spPr>
          <a:xfrm>
            <a:off x="178" y="14555194"/>
            <a:ext cx="35740613" cy="191977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277"/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A4BB62C-40DD-F07F-6BC9-B65449E2C519}"/>
              </a:ext>
            </a:extLst>
          </p:cNvPr>
          <p:cNvSpPr txBox="1"/>
          <p:nvPr/>
        </p:nvSpPr>
        <p:spPr>
          <a:xfrm>
            <a:off x="14178023" y="14854038"/>
            <a:ext cx="7722000" cy="2257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7036" b="1" dirty="0">
                <a:solidFill>
                  <a:schemeClr val="bg1"/>
                </a:solidFill>
              </a:rPr>
              <a:t>Barreres
</a:t>
            </a:r>
          </a:p>
        </p:txBody>
      </p:sp>
      <p:pic>
        <p:nvPicPr>
          <p:cNvPr id="8" name="Gráfico 7" descr="Semáforo con relleno sólido">
            <a:extLst>
              <a:ext uri="{FF2B5EF4-FFF2-40B4-BE49-F238E27FC236}">
                <a16:creationId xmlns:a16="http://schemas.microsoft.com/office/drawing/2014/main" id="{0D1D6E8F-D2E7-FBB0-958C-BAD3A048FC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145356" y="14550555"/>
            <a:ext cx="1978495" cy="1978495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749134E2-786F-7866-A93C-9DCAB4827100}"/>
              </a:ext>
            </a:extLst>
          </p:cNvPr>
          <p:cNvSpPr txBox="1"/>
          <p:nvPr/>
        </p:nvSpPr>
        <p:spPr>
          <a:xfrm rot="16200000">
            <a:off x="2507828" y="17578170"/>
            <a:ext cx="40361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6000" b="1" i="1" dirty="0">
                <a:solidFill>
                  <a:schemeClr val="tx2"/>
                </a:solidFill>
                <a:latin typeface="Roobert ENEL" panose="00000500000000000000"/>
              </a:rPr>
              <a:t>CAPEX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1F634945-BD0C-EE05-BEDA-9CCFC81B512C}"/>
              </a:ext>
            </a:extLst>
          </p:cNvPr>
          <p:cNvSpPr txBox="1"/>
          <p:nvPr/>
        </p:nvSpPr>
        <p:spPr>
          <a:xfrm>
            <a:off x="5144633" y="16777684"/>
            <a:ext cx="12725854" cy="15094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37676" indent="-837676">
              <a:lnSpc>
                <a:spcPts val="5500"/>
              </a:lnSpc>
              <a:buFont typeface="Wingdings" panose="05000000000000000000" pitchFamily="2" charset="2"/>
              <a:buChar char="§"/>
            </a:pPr>
            <a:r>
              <a:rPr lang="ca-ES" sz="5400" dirty="0">
                <a:solidFill>
                  <a:srgbClr val="461E7D"/>
                </a:solidFill>
                <a:latin typeface="Roobert ENEL" panose="00000500000000000000"/>
              </a:rPr>
              <a:t>La inversió requerida per a una calderes elèctriques és sensiblement superior.</a:t>
            </a:r>
            <a:endParaRPr lang="ca-ES" sz="5400" dirty="0">
              <a:solidFill>
                <a:srgbClr val="FF7823"/>
              </a:solidFill>
              <a:latin typeface="Roobert ENEL" panose="0000050000000000000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79C3847F-8AF6-4BB2-2D43-35B038BFD5C4}"/>
              </a:ext>
            </a:extLst>
          </p:cNvPr>
          <p:cNvSpPr txBox="1"/>
          <p:nvPr/>
        </p:nvSpPr>
        <p:spPr>
          <a:xfrm>
            <a:off x="5144633" y="18372398"/>
            <a:ext cx="12725854" cy="15094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37676" indent="-837676">
              <a:lnSpc>
                <a:spcPts val="5500"/>
              </a:lnSpc>
              <a:buFont typeface="Wingdings" panose="05000000000000000000" pitchFamily="2" charset="2"/>
              <a:buChar char="§"/>
            </a:pPr>
            <a:r>
              <a:rPr lang="ca-ES" sz="5400" b="1" dirty="0">
                <a:solidFill>
                  <a:srgbClr val="461E7D"/>
                </a:solidFill>
                <a:latin typeface="Roobert ENEL" panose="00000500000000000000"/>
              </a:rPr>
              <a:t>Es requereix aposta decidida a subvencionar aquest canvi tecnològic.</a:t>
            </a:r>
            <a:endParaRPr lang="ca-ES" sz="5400" b="1" dirty="0">
              <a:solidFill>
                <a:srgbClr val="FF7823"/>
              </a:solidFill>
              <a:latin typeface="Roobert ENEL" panose="00000500000000000000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E9DB6A13-EA7D-DFBC-AFD1-F1FE8BFDBFB1}"/>
              </a:ext>
            </a:extLst>
          </p:cNvPr>
          <p:cNvSpPr txBox="1"/>
          <p:nvPr/>
        </p:nvSpPr>
        <p:spPr>
          <a:xfrm rot="16200000">
            <a:off x="20164267" y="17718510"/>
            <a:ext cx="426328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a-ES" sz="6600" b="1" i="1" dirty="0">
                <a:solidFill>
                  <a:schemeClr val="tx2"/>
                </a:solidFill>
                <a:latin typeface="Roobert ENEL" panose="00000500000000000000"/>
              </a:rPr>
              <a:t>Xarxes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52D136F3-A728-343E-E9A7-F8D3A532A1EE}"/>
              </a:ext>
            </a:extLst>
          </p:cNvPr>
          <p:cNvSpPr txBox="1"/>
          <p:nvPr/>
        </p:nvSpPr>
        <p:spPr>
          <a:xfrm>
            <a:off x="22979944" y="17275130"/>
            <a:ext cx="12462653" cy="2214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1338" indent="-541338" defTabSz="711200">
              <a:lnSpc>
                <a:spcPts val="5500"/>
              </a:lnSpc>
              <a:buFont typeface="Wingdings" panose="05000000000000000000" pitchFamily="2" charset="2"/>
              <a:buChar char="§"/>
            </a:pPr>
            <a:r>
              <a:rPr lang="ca-ES" sz="5400" dirty="0">
                <a:solidFill>
                  <a:srgbClr val="461E7D"/>
                </a:solidFill>
                <a:latin typeface="Roobert ENEL" panose="00000500000000000000"/>
              </a:rPr>
              <a:t>Punt de millora, es necessita un esforç de l' administració per a desenvolupament de les xarxes TD.</a:t>
            </a:r>
            <a:endParaRPr lang="ca-ES" sz="5400" dirty="0">
              <a:solidFill>
                <a:srgbClr val="FF7823"/>
              </a:solidFill>
              <a:latin typeface="Roobert ENEL" panose="00000500000000000000"/>
            </a:endParaRPr>
          </a:p>
        </p:txBody>
      </p:sp>
      <p:grpSp>
        <p:nvGrpSpPr>
          <p:cNvPr id="24" name="Grupo 23">
            <a:extLst>
              <a:ext uri="{FF2B5EF4-FFF2-40B4-BE49-F238E27FC236}">
                <a16:creationId xmlns:a16="http://schemas.microsoft.com/office/drawing/2014/main" id="{0EE0DC82-D95A-2729-33E8-357C1995D819}"/>
              </a:ext>
            </a:extLst>
          </p:cNvPr>
          <p:cNvGrpSpPr/>
          <p:nvPr/>
        </p:nvGrpSpPr>
        <p:grpSpPr>
          <a:xfrm>
            <a:off x="1005627" y="16711771"/>
            <a:ext cx="2916689" cy="2916689"/>
            <a:chOff x="487362" y="5819844"/>
            <a:chExt cx="994954" cy="994954"/>
          </a:xfrm>
        </p:grpSpPr>
        <p:pic>
          <p:nvPicPr>
            <p:cNvPr id="15" name="Gráfico 14" descr="bolas de harvey 100% con relleno sólido">
              <a:extLst>
                <a:ext uri="{FF2B5EF4-FFF2-40B4-BE49-F238E27FC236}">
                  <a16:creationId xmlns:a16="http://schemas.microsoft.com/office/drawing/2014/main" id="{A62AFA31-2E3E-EB1B-1EA1-8756F779D7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87362" y="5819844"/>
              <a:ext cx="994954" cy="994954"/>
            </a:xfrm>
            <a:prstGeom prst="rect">
              <a:avLst/>
            </a:prstGeom>
          </p:spPr>
        </p:pic>
        <p:pic>
          <p:nvPicPr>
            <p:cNvPr id="22" name="Gráfico 21" descr="Euro con relleno sólido">
              <a:extLst>
                <a:ext uri="{FF2B5EF4-FFF2-40B4-BE49-F238E27FC236}">
                  <a16:creationId xmlns:a16="http://schemas.microsoft.com/office/drawing/2014/main" id="{344AFAE2-0B09-D75C-CD46-29D7FE1454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36532" y="5967630"/>
              <a:ext cx="648114" cy="648114"/>
            </a:xfrm>
            <a:prstGeom prst="rect">
              <a:avLst/>
            </a:prstGeom>
          </p:spPr>
        </p:pic>
      </p:grpSp>
      <p:grpSp>
        <p:nvGrpSpPr>
          <p:cNvPr id="25" name="Grupo 24">
            <a:extLst>
              <a:ext uri="{FF2B5EF4-FFF2-40B4-BE49-F238E27FC236}">
                <a16:creationId xmlns:a16="http://schemas.microsoft.com/office/drawing/2014/main" id="{522C1C2C-3F45-428C-6EC5-EFAD3FBA855D}"/>
              </a:ext>
            </a:extLst>
          </p:cNvPr>
          <p:cNvGrpSpPr/>
          <p:nvPr/>
        </p:nvGrpSpPr>
        <p:grpSpPr>
          <a:xfrm>
            <a:off x="18779833" y="16711771"/>
            <a:ext cx="2916689" cy="2916689"/>
            <a:chOff x="6550578" y="5721612"/>
            <a:chExt cx="994954" cy="994954"/>
          </a:xfrm>
        </p:grpSpPr>
        <p:pic>
          <p:nvPicPr>
            <p:cNvPr id="11" name="Gráfico 10" descr="bolas de harvey 100% con relleno sólido">
              <a:extLst>
                <a:ext uri="{FF2B5EF4-FFF2-40B4-BE49-F238E27FC236}">
                  <a16:creationId xmlns:a16="http://schemas.microsoft.com/office/drawing/2014/main" id="{E400EBB3-B841-9A32-63DA-A9F498E5A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550578" y="5721612"/>
              <a:ext cx="994954" cy="994954"/>
            </a:xfrm>
            <a:prstGeom prst="rect">
              <a:avLst/>
            </a:prstGeom>
          </p:spPr>
        </p:pic>
        <p:pic>
          <p:nvPicPr>
            <p:cNvPr id="23" name="Gráfico 22" descr="Red con relleno sólido">
              <a:extLst>
                <a:ext uri="{FF2B5EF4-FFF2-40B4-BE49-F238E27FC236}">
                  <a16:creationId xmlns:a16="http://schemas.microsoft.com/office/drawing/2014/main" id="{4D3964AF-4EB2-9A81-20FC-7512C8C7A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638617" y="5783888"/>
              <a:ext cx="815525" cy="815525"/>
            </a:xfrm>
            <a:prstGeom prst="rect">
              <a:avLst/>
            </a:prstGeom>
          </p:spPr>
        </p:pic>
      </p:grpSp>
      <p:sp>
        <p:nvSpPr>
          <p:cNvPr id="55" name="CuadroTexto 54">
            <a:extLst>
              <a:ext uri="{FF2B5EF4-FFF2-40B4-BE49-F238E27FC236}">
                <a16:creationId xmlns:a16="http://schemas.microsoft.com/office/drawing/2014/main" id="{64CD11C1-09B8-74E2-9E0F-B0E77EDFF4CE}"/>
              </a:ext>
            </a:extLst>
          </p:cNvPr>
          <p:cNvSpPr txBox="1"/>
          <p:nvPr/>
        </p:nvSpPr>
        <p:spPr>
          <a:xfrm>
            <a:off x="4174398" y="6183282"/>
            <a:ext cx="388175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5400" b="1" i="1" dirty="0">
                <a:solidFill>
                  <a:schemeClr val="tx2"/>
                </a:solidFill>
                <a:latin typeface="Roobert ENEL" panose="00000500000000000000"/>
              </a:rPr>
              <a:t>Tecnologia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56806BC7-3A9E-6619-5268-D885DABE5B86}"/>
              </a:ext>
            </a:extLst>
          </p:cNvPr>
          <p:cNvSpPr txBox="1"/>
          <p:nvPr/>
        </p:nvSpPr>
        <p:spPr>
          <a:xfrm>
            <a:off x="4174398" y="7215263"/>
            <a:ext cx="14086137" cy="22147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ca-ES" sz="5400" dirty="0">
                <a:solidFill>
                  <a:srgbClr val="461E7D"/>
                </a:solidFill>
                <a:latin typeface="Roobert ENEL" panose="00000500000000000000"/>
              </a:rPr>
              <a:t>Emissions, durabilitat, flexibilitat, costos manteniment i seguretat (no ATEX)...
</a:t>
            </a:r>
            <a:endParaRPr lang="ca-ES" sz="5400" dirty="0">
              <a:solidFill>
                <a:srgbClr val="FF7823"/>
              </a:solidFill>
              <a:latin typeface="Roobert ENEL" panose="00000500000000000000"/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:a16="http://schemas.microsoft.com/office/drawing/2014/main" id="{0616D1BD-03F0-3528-AD92-72F7ADFD4C82}"/>
              </a:ext>
            </a:extLst>
          </p:cNvPr>
          <p:cNvSpPr txBox="1"/>
          <p:nvPr/>
        </p:nvSpPr>
        <p:spPr>
          <a:xfrm>
            <a:off x="4241550" y="11875554"/>
            <a:ext cx="11724288" cy="814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4690" b="1" i="1" dirty="0">
                <a:solidFill>
                  <a:schemeClr val="tx2"/>
                </a:solidFill>
              </a:rPr>
              <a:t>Gestió activa de la demanda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20CD35AB-1E14-FD7C-6EAF-6F5C26C5081B}"/>
              </a:ext>
            </a:extLst>
          </p:cNvPr>
          <p:cNvSpPr txBox="1"/>
          <p:nvPr/>
        </p:nvSpPr>
        <p:spPr>
          <a:xfrm>
            <a:off x="4241550" y="12713757"/>
            <a:ext cx="13667625" cy="15094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ca-ES" sz="5400" dirty="0">
                <a:solidFill>
                  <a:srgbClr val="461E7D"/>
                </a:solidFill>
                <a:latin typeface="Roobert ENEL" panose="00000500000000000000"/>
              </a:rPr>
              <a:t>L'electrificació permetrà a la nostra indústria dotar-la de flexibilitat per entrar en mercat</a:t>
            </a:r>
            <a:endParaRPr lang="ca-ES" sz="5400" dirty="0">
              <a:solidFill>
                <a:srgbClr val="FF7823"/>
              </a:solidFill>
              <a:latin typeface="Roobert ENEL" panose="00000500000000000000"/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C22F7E34-EC1E-A868-1388-4736D044A133}"/>
              </a:ext>
            </a:extLst>
          </p:cNvPr>
          <p:cNvSpPr txBox="1"/>
          <p:nvPr/>
        </p:nvSpPr>
        <p:spPr>
          <a:xfrm>
            <a:off x="4174398" y="8917915"/>
            <a:ext cx="133975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5400" b="1" i="1" dirty="0">
                <a:solidFill>
                  <a:schemeClr val="tx2"/>
                </a:solidFill>
                <a:latin typeface="Roobert ENEL" panose="00000500000000000000"/>
              </a:rPr>
              <a:t>Canvi paradigma mercats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4A587D78-64F7-741F-8166-AF5BA0D9A163}"/>
              </a:ext>
            </a:extLst>
          </p:cNvPr>
          <p:cNvSpPr txBox="1"/>
          <p:nvPr/>
        </p:nvSpPr>
        <p:spPr>
          <a:xfrm>
            <a:off x="4174398" y="9830213"/>
            <a:ext cx="13397512" cy="15094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5500"/>
              </a:lnSpc>
            </a:pPr>
            <a:r>
              <a:rPr lang="ca-ES" sz="5400" dirty="0">
                <a:solidFill>
                  <a:srgbClr val="461E7D"/>
                </a:solidFill>
                <a:latin typeface="Roobert ENEL" panose="00000500000000000000"/>
              </a:rPr>
              <a:t>Diferencial de cost </a:t>
            </a:r>
            <a:r>
              <a:rPr lang="ca-ES" sz="5400" dirty="0" err="1">
                <a:solidFill>
                  <a:srgbClr val="461E7D"/>
                </a:solidFill>
                <a:latin typeface="Roobert ENEL" panose="00000500000000000000"/>
              </a:rPr>
              <a:t>elec</a:t>
            </a:r>
            <a:r>
              <a:rPr lang="ca-ES" sz="5400" dirty="0">
                <a:solidFill>
                  <a:srgbClr val="461E7D"/>
                </a:solidFill>
                <a:latin typeface="Roobert ENEL" panose="00000500000000000000"/>
              </a:rPr>
              <a:t>-gas s'ha reduït i es preveu canvi per l'entrada de renovables</a:t>
            </a:r>
          </a:p>
        </p:txBody>
      </p:sp>
      <p:pic>
        <p:nvPicPr>
          <p:cNvPr id="64" name="Gráfico 63" descr="bolas de harvey 100% con relleno sólido">
            <a:extLst>
              <a:ext uri="{FF2B5EF4-FFF2-40B4-BE49-F238E27FC236}">
                <a16:creationId xmlns:a16="http://schemas.microsoft.com/office/drawing/2014/main" id="{B4C7DE95-C4DF-D1AC-6806-146018B4B72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90557" y="8898464"/>
            <a:ext cx="2916689" cy="2916689"/>
          </a:xfrm>
          <a:prstGeom prst="rect">
            <a:avLst/>
          </a:prstGeom>
        </p:spPr>
      </p:pic>
      <p:pic>
        <p:nvPicPr>
          <p:cNvPr id="65" name="Gráfico 64" descr="bolas de harvey 100% con relleno sólido">
            <a:extLst>
              <a:ext uri="{FF2B5EF4-FFF2-40B4-BE49-F238E27FC236}">
                <a16:creationId xmlns:a16="http://schemas.microsoft.com/office/drawing/2014/main" id="{284878B8-5F87-B51D-1BEB-1C3630ECDD3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257709" y="11554961"/>
            <a:ext cx="2916689" cy="2916689"/>
          </a:xfrm>
          <a:prstGeom prst="rect">
            <a:avLst/>
          </a:prstGeom>
        </p:spPr>
      </p:pic>
      <p:pic>
        <p:nvPicPr>
          <p:cNvPr id="66" name="Gráfico 65" descr="bolas de harvey 100% con relleno sólido">
            <a:extLst>
              <a:ext uri="{FF2B5EF4-FFF2-40B4-BE49-F238E27FC236}">
                <a16:creationId xmlns:a16="http://schemas.microsoft.com/office/drawing/2014/main" id="{A9CE6542-F6FE-4EED-5359-E664ED5F58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90557" y="5888406"/>
            <a:ext cx="2916689" cy="2916689"/>
          </a:xfrm>
          <a:prstGeom prst="rect">
            <a:avLst/>
          </a:prstGeom>
        </p:spPr>
      </p:pic>
      <p:pic>
        <p:nvPicPr>
          <p:cNvPr id="69" name="Gráfico 68" descr="Tendencia al alza con relleno sólido">
            <a:extLst>
              <a:ext uri="{FF2B5EF4-FFF2-40B4-BE49-F238E27FC236}">
                <a16:creationId xmlns:a16="http://schemas.microsoft.com/office/drawing/2014/main" id="{A2F2F3C2-7840-469C-8DFB-7A3E388DC40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750045" y="9379580"/>
            <a:ext cx="1797713" cy="1797713"/>
          </a:xfrm>
          <a:prstGeom prst="rect">
            <a:avLst/>
          </a:prstGeom>
        </p:spPr>
      </p:pic>
      <p:pic>
        <p:nvPicPr>
          <p:cNvPr id="71" name="Gráfico 70" descr="energía renovable con relleno sólido">
            <a:extLst>
              <a:ext uri="{FF2B5EF4-FFF2-40B4-BE49-F238E27FC236}">
                <a16:creationId xmlns:a16="http://schemas.microsoft.com/office/drawing/2014/main" id="{8551D09F-4450-73AA-D764-B19388831C6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689013" y="6320796"/>
            <a:ext cx="1919777" cy="1919777"/>
          </a:xfrm>
          <a:prstGeom prst="rect">
            <a:avLst/>
          </a:prstGeom>
        </p:spPr>
      </p:pic>
      <p:sp>
        <p:nvSpPr>
          <p:cNvPr id="5" name="object 4">
            <a:extLst>
              <a:ext uri="{FF2B5EF4-FFF2-40B4-BE49-F238E27FC236}">
                <a16:creationId xmlns:a16="http://schemas.microsoft.com/office/drawing/2014/main" id="{F3127630-6B15-86FE-FED0-C97A17BF0A9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279649" y="1263132"/>
            <a:ext cx="23591838" cy="2784736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spcBef>
                <a:spcPts val="114"/>
              </a:spcBef>
            </a:pPr>
            <a:r>
              <a:rPr lang="ca-ES" sz="12000" spc="55" dirty="0">
                <a:solidFill>
                  <a:srgbClr val="461E7D"/>
                </a:solidFill>
                <a:latin typeface="Roobert ENEL" panose="00000500000000000000" pitchFamily="50" charset="0"/>
              </a:rPr>
              <a:t>Electrificació</a:t>
            </a:r>
            <a:br>
              <a:rPr lang="ca-ES" sz="12000" spc="55" dirty="0">
                <a:solidFill>
                  <a:srgbClr val="461E7D"/>
                </a:solidFill>
                <a:latin typeface="Roobert ENEL" panose="00000500000000000000" pitchFamily="50" charset="0"/>
              </a:rPr>
            </a:br>
            <a:r>
              <a:rPr lang="ca-ES" sz="6000" b="0" spc="55" dirty="0">
                <a:solidFill>
                  <a:srgbClr val="461E7D"/>
                </a:solidFill>
                <a:latin typeface="Roobert ENEL" panose="00000500000000000000" pitchFamily="50" charset="0"/>
              </a:rPr>
              <a:t>Avantatges i barreres</a:t>
            </a:r>
            <a:endParaRPr lang="ca-ES" sz="6000" b="0" spc="5" dirty="0">
              <a:solidFill>
                <a:srgbClr val="461E7D"/>
              </a:solidFill>
              <a:latin typeface="Roobert ENEL" panose="00000500000000000000" pitchFamily="50" charset="0"/>
            </a:endParaRPr>
          </a:p>
        </p:txBody>
      </p:sp>
      <p:sp>
        <p:nvSpPr>
          <p:cNvPr id="36" name="Rectángulo: esquinas redondeadas 35">
            <a:extLst>
              <a:ext uri="{FF2B5EF4-FFF2-40B4-BE49-F238E27FC236}">
                <a16:creationId xmlns:a16="http://schemas.microsoft.com/office/drawing/2014/main" id="{9F95D9DD-A34E-5497-79CA-85471D7C2490}"/>
              </a:ext>
            </a:extLst>
          </p:cNvPr>
          <p:cNvSpPr/>
          <p:nvPr/>
        </p:nvSpPr>
        <p:spPr>
          <a:xfrm>
            <a:off x="24172134" y="6722385"/>
            <a:ext cx="11148153" cy="7238219"/>
          </a:xfrm>
          <a:prstGeom prst="roundRect">
            <a:avLst/>
          </a:prstGeom>
          <a:solidFill>
            <a:srgbClr val="157EA3">
              <a:lumMod val="20000"/>
              <a:lumOff val="80000"/>
              <a:alpha val="42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9pPr>
          </a:lstStyle>
          <a:p>
            <a:pPr algn="ctr"/>
            <a:endParaRPr lang="es-ES" sz="2000" err="1"/>
          </a:p>
        </p:txBody>
      </p:sp>
      <p:sp>
        <p:nvSpPr>
          <p:cNvPr id="37" name="Rectángulo: esquinas redondeadas 36">
            <a:extLst>
              <a:ext uri="{FF2B5EF4-FFF2-40B4-BE49-F238E27FC236}">
                <a16:creationId xmlns:a16="http://schemas.microsoft.com/office/drawing/2014/main" id="{772FCBB1-3956-B942-BEC5-F5C46FAF2BBF}"/>
              </a:ext>
            </a:extLst>
          </p:cNvPr>
          <p:cNvSpPr/>
          <p:nvPr/>
        </p:nvSpPr>
        <p:spPr>
          <a:xfrm>
            <a:off x="17946687" y="6778528"/>
            <a:ext cx="4328317" cy="7178101"/>
          </a:xfrm>
          <a:prstGeom prst="roundRect">
            <a:avLst/>
          </a:prstGeom>
          <a:solidFill>
            <a:srgbClr val="C6C6C6">
              <a:lumMod val="60000"/>
              <a:lumOff val="40000"/>
              <a:alpha val="54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Arial"/>
              </a:defRPr>
            </a:lvl9pPr>
          </a:lstStyle>
          <a:p>
            <a:pPr algn="ctr"/>
            <a:endParaRPr lang="es-ES" sz="2000" err="1"/>
          </a:p>
        </p:txBody>
      </p:sp>
      <p:sp>
        <p:nvSpPr>
          <p:cNvPr id="38" name="CuadroTexto 3">
            <a:extLst>
              <a:ext uri="{FF2B5EF4-FFF2-40B4-BE49-F238E27FC236}">
                <a16:creationId xmlns:a16="http://schemas.microsoft.com/office/drawing/2014/main" id="{AF9DBD9A-42D5-F5C6-5617-3221DCA2238C}"/>
              </a:ext>
            </a:extLst>
          </p:cNvPr>
          <p:cNvSpPr txBox="1"/>
          <p:nvPr/>
        </p:nvSpPr>
        <p:spPr>
          <a:xfrm>
            <a:off x="19676334" y="7248573"/>
            <a:ext cx="224147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9pPr>
          </a:lstStyle>
          <a:p>
            <a:r>
              <a:rPr lang="es-ES" sz="4000" b="1" dirty="0">
                <a:solidFill>
                  <a:srgbClr val="FFFFFF">
                    <a:lumMod val="50000"/>
                  </a:srgbClr>
                </a:solidFill>
              </a:rPr>
              <a:t>SPOT</a:t>
            </a:r>
          </a:p>
        </p:txBody>
      </p:sp>
      <p:sp>
        <p:nvSpPr>
          <p:cNvPr id="39" name="CuadroTexto 4">
            <a:extLst>
              <a:ext uri="{FF2B5EF4-FFF2-40B4-BE49-F238E27FC236}">
                <a16:creationId xmlns:a16="http://schemas.microsoft.com/office/drawing/2014/main" id="{F9432F87-8155-E1E6-8113-58703DD103E4}"/>
              </a:ext>
            </a:extLst>
          </p:cNvPr>
          <p:cNvSpPr txBox="1"/>
          <p:nvPr/>
        </p:nvSpPr>
        <p:spPr>
          <a:xfrm>
            <a:off x="27533036" y="7248573"/>
            <a:ext cx="3386023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9pPr>
          </a:lstStyle>
          <a:p>
            <a:r>
              <a:rPr lang="es-ES" sz="4000" b="1" dirty="0">
                <a:solidFill>
                  <a:srgbClr val="FFFFFF">
                    <a:lumMod val="50000"/>
                  </a:srgbClr>
                </a:solidFill>
              </a:rPr>
              <a:t>FUTUROS</a:t>
            </a:r>
          </a:p>
        </p:txBody>
      </p:sp>
      <p:sp>
        <p:nvSpPr>
          <p:cNvPr id="40" name="CuadroTexto 5">
            <a:extLst>
              <a:ext uri="{FF2B5EF4-FFF2-40B4-BE49-F238E27FC236}">
                <a16:creationId xmlns:a16="http://schemas.microsoft.com/office/drawing/2014/main" id="{3F5A6B88-1ADE-09BE-F398-55C863F3A01E}"/>
              </a:ext>
            </a:extLst>
          </p:cNvPr>
          <p:cNvSpPr txBox="1"/>
          <p:nvPr/>
        </p:nvSpPr>
        <p:spPr>
          <a:xfrm>
            <a:off x="30175255" y="7556349"/>
            <a:ext cx="346863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000000"/>
                </a:solidFill>
                <a:latin typeface="Arial"/>
              </a:defRPr>
            </a:lvl9pPr>
          </a:lstStyle>
          <a:p>
            <a:r>
              <a:rPr lang="es-ES" sz="2000" dirty="0">
                <a:solidFill>
                  <a:srgbClr val="C6C6C6"/>
                </a:solidFill>
              </a:rPr>
              <a:t>*Datos 06/10/2022</a:t>
            </a:r>
            <a:endParaRPr lang="es-ES" sz="4000" dirty="0">
              <a:solidFill>
                <a:srgbClr val="C6C6C6"/>
              </a:solidFill>
            </a:endParaRPr>
          </a:p>
        </p:txBody>
      </p:sp>
      <p:graphicFrame>
        <p:nvGraphicFramePr>
          <p:cNvPr id="42" name="Marcador de contenido 6">
            <a:extLst>
              <a:ext uri="{FF2B5EF4-FFF2-40B4-BE49-F238E27FC236}">
                <a16:creationId xmlns:a16="http://schemas.microsoft.com/office/drawing/2014/main" id="{A8B2E648-EE3E-4EB9-A074-160FC45028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4445771"/>
              </p:ext>
            </p:extLst>
          </p:nvPr>
        </p:nvGraphicFramePr>
        <p:xfrm>
          <a:off x="17772315" y="5403850"/>
          <a:ext cx="17547971" cy="8261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pic>
        <p:nvPicPr>
          <p:cNvPr id="44" name="Gráfico 43" descr="Balanza de la justicia con relleno sólido">
            <a:extLst>
              <a:ext uri="{FF2B5EF4-FFF2-40B4-BE49-F238E27FC236}">
                <a16:creationId xmlns:a16="http://schemas.microsoft.com/office/drawing/2014/main" id="{D27F3E90-7FCA-5BCE-6F18-76C2E67E04C6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912393" y="12097386"/>
            <a:ext cx="1607321" cy="1607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970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  <p:bldP spid="19" grpId="0"/>
      <p:bldP spid="20" grpId="0"/>
      <p:bldP spid="21" grpId="0"/>
      <p:bldP spid="55" grpId="0"/>
      <p:bldP spid="56" grpId="0"/>
      <p:bldP spid="59" grpId="0"/>
      <p:bldP spid="60" grpId="0"/>
      <p:bldP spid="61" grpId="0"/>
      <p:bldP spid="62" grpId="0"/>
      <p:bldP spid="36" grpId="0" animBg="1"/>
      <p:bldP spid="37" grpId="0" animBg="1"/>
      <p:bldP spid="38" grpId="0"/>
      <p:bldP spid="39" grpId="0"/>
      <p:bldP spid="40" grpId="0"/>
      <p:bldGraphic spid="42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8D93958-FF1F-2EC0-76F2-4A4555C89A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667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43" imgH="443" progId="TCLayout.ActiveDocument.1">
                  <p:embed/>
                </p:oleObj>
              </mc:Choice>
              <mc:Fallback>
                <p:oleObj name="Diapositiva de think-cell" r:id="rId5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n 5" descr="Una captura de pantalla de un celular con la imagen de un videojuego&#10;&#10;Descripción generada automáticamente con confianza baja">
            <a:extLst>
              <a:ext uri="{FF2B5EF4-FFF2-40B4-BE49-F238E27FC236}">
                <a16:creationId xmlns:a16="http://schemas.microsoft.com/office/drawing/2014/main" id="{AF2772D0-8777-4A31-8E06-04BBF992D55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509"/>
          <a:stretch/>
        </p:blipFill>
        <p:spPr>
          <a:xfrm>
            <a:off x="26633400" y="100"/>
            <a:ext cx="18346806" cy="20447857"/>
          </a:xfrm>
          <a:prstGeom prst="parallelogram">
            <a:avLst>
              <a:gd name="adj" fmla="val 14854"/>
            </a:avLst>
          </a:prstGeom>
        </p:spPr>
      </p:pic>
      <p:sp>
        <p:nvSpPr>
          <p:cNvPr id="7" name="bg object 21">
            <a:extLst>
              <a:ext uri="{FF2B5EF4-FFF2-40B4-BE49-F238E27FC236}">
                <a16:creationId xmlns:a16="http://schemas.microsoft.com/office/drawing/2014/main" id="{66BCCA4C-6A3B-486E-9B7F-646F0E7EF395}"/>
              </a:ext>
            </a:extLst>
          </p:cNvPr>
          <p:cNvSpPr/>
          <p:nvPr/>
        </p:nvSpPr>
        <p:spPr>
          <a:xfrm>
            <a:off x="28843179" y="18433969"/>
            <a:ext cx="5702878" cy="924551"/>
          </a:xfrm>
          <a:custGeom>
            <a:avLst/>
            <a:gdLst/>
            <a:ahLst/>
            <a:cxnLst/>
            <a:rect l="l" t="t" r="r" b="b"/>
            <a:pathLst>
              <a:path w="6922134" h="1153160">
                <a:moveTo>
                  <a:pt x="845985" y="631863"/>
                </a:moveTo>
                <a:lnTo>
                  <a:pt x="835507" y="586574"/>
                </a:lnTo>
                <a:lnTo>
                  <a:pt x="820331" y="543280"/>
                </a:lnTo>
                <a:lnTo>
                  <a:pt x="800735" y="502259"/>
                </a:lnTo>
                <a:lnTo>
                  <a:pt x="777024" y="463778"/>
                </a:lnTo>
                <a:lnTo>
                  <a:pt x="749465" y="428155"/>
                </a:lnTo>
                <a:lnTo>
                  <a:pt x="718375" y="395655"/>
                </a:lnTo>
                <a:lnTo>
                  <a:pt x="684022" y="366560"/>
                </a:lnTo>
                <a:lnTo>
                  <a:pt x="646696" y="341172"/>
                </a:lnTo>
                <a:lnTo>
                  <a:pt x="606704" y="319747"/>
                </a:lnTo>
                <a:lnTo>
                  <a:pt x="564311" y="302590"/>
                </a:lnTo>
                <a:lnTo>
                  <a:pt x="519823" y="289991"/>
                </a:lnTo>
                <a:lnTo>
                  <a:pt x="473532" y="282219"/>
                </a:lnTo>
                <a:lnTo>
                  <a:pt x="425716" y="279565"/>
                </a:lnTo>
                <a:lnTo>
                  <a:pt x="379336" y="282067"/>
                </a:lnTo>
                <a:lnTo>
                  <a:pt x="334391" y="289382"/>
                </a:lnTo>
                <a:lnTo>
                  <a:pt x="291160" y="301269"/>
                </a:lnTo>
                <a:lnTo>
                  <a:pt x="249897" y="317461"/>
                </a:lnTo>
                <a:lnTo>
                  <a:pt x="210858" y="337693"/>
                </a:lnTo>
                <a:lnTo>
                  <a:pt x="174294" y="361708"/>
                </a:lnTo>
                <a:lnTo>
                  <a:pt x="140487" y="389242"/>
                </a:lnTo>
                <a:lnTo>
                  <a:pt x="109677" y="420052"/>
                </a:lnTo>
                <a:lnTo>
                  <a:pt x="82143" y="453859"/>
                </a:lnTo>
                <a:lnTo>
                  <a:pt x="58127" y="490410"/>
                </a:lnTo>
                <a:lnTo>
                  <a:pt x="37896" y="529450"/>
                </a:lnTo>
                <a:lnTo>
                  <a:pt x="21704" y="570725"/>
                </a:lnTo>
                <a:lnTo>
                  <a:pt x="9817" y="613956"/>
                </a:lnTo>
                <a:lnTo>
                  <a:pt x="2501" y="658888"/>
                </a:lnTo>
                <a:lnTo>
                  <a:pt x="0" y="705281"/>
                </a:lnTo>
                <a:lnTo>
                  <a:pt x="2501" y="751662"/>
                </a:lnTo>
                <a:lnTo>
                  <a:pt x="9817" y="796607"/>
                </a:lnTo>
                <a:lnTo>
                  <a:pt x="21704" y="839838"/>
                </a:lnTo>
                <a:lnTo>
                  <a:pt x="37896" y="881100"/>
                </a:lnTo>
                <a:lnTo>
                  <a:pt x="58127" y="920153"/>
                </a:lnTo>
                <a:lnTo>
                  <a:pt x="82143" y="956703"/>
                </a:lnTo>
                <a:lnTo>
                  <a:pt x="109677" y="990511"/>
                </a:lnTo>
                <a:lnTo>
                  <a:pt x="140487" y="1021321"/>
                </a:lnTo>
                <a:lnTo>
                  <a:pt x="174294" y="1048854"/>
                </a:lnTo>
                <a:lnTo>
                  <a:pt x="210858" y="1072870"/>
                </a:lnTo>
                <a:lnTo>
                  <a:pt x="249897" y="1093101"/>
                </a:lnTo>
                <a:lnTo>
                  <a:pt x="291160" y="1109294"/>
                </a:lnTo>
                <a:lnTo>
                  <a:pt x="334391" y="1121181"/>
                </a:lnTo>
                <a:lnTo>
                  <a:pt x="379336" y="1128496"/>
                </a:lnTo>
                <a:lnTo>
                  <a:pt x="425716" y="1130998"/>
                </a:lnTo>
                <a:lnTo>
                  <a:pt x="476542" y="1127988"/>
                </a:lnTo>
                <a:lnTo>
                  <a:pt x="525589" y="1119212"/>
                </a:lnTo>
                <a:lnTo>
                  <a:pt x="572528" y="1105001"/>
                </a:lnTo>
                <a:lnTo>
                  <a:pt x="617004" y="1085697"/>
                </a:lnTo>
                <a:lnTo>
                  <a:pt x="658685" y="1061656"/>
                </a:lnTo>
                <a:lnTo>
                  <a:pt x="697217" y="1033208"/>
                </a:lnTo>
                <a:lnTo>
                  <a:pt x="732256" y="1000696"/>
                </a:lnTo>
                <a:lnTo>
                  <a:pt x="763473" y="964463"/>
                </a:lnTo>
                <a:lnTo>
                  <a:pt x="662673" y="887107"/>
                </a:lnTo>
                <a:lnTo>
                  <a:pt x="632866" y="920432"/>
                </a:lnTo>
                <a:lnTo>
                  <a:pt x="598424" y="948969"/>
                </a:lnTo>
                <a:lnTo>
                  <a:pt x="559917" y="972159"/>
                </a:lnTo>
                <a:lnTo>
                  <a:pt x="517918" y="989431"/>
                </a:lnTo>
                <a:lnTo>
                  <a:pt x="472998" y="1000213"/>
                </a:lnTo>
                <a:lnTo>
                  <a:pt x="425716" y="1003935"/>
                </a:lnTo>
                <a:lnTo>
                  <a:pt x="377266" y="1000023"/>
                </a:lnTo>
                <a:lnTo>
                  <a:pt x="331317" y="988707"/>
                </a:lnTo>
                <a:lnTo>
                  <a:pt x="288467" y="970597"/>
                </a:lnTo>
                <a:lnTo>
                  <a:pt x="249339" y="946315"/>
                </a:lnTo>
                <a:lnTo>
                  <a:pt x="214528" y="916457"/>
                </a:lnTo>
                <a:lnTo>
                  <a:pt x="184683" y="881659"/>
                </a:lnTo>
                <a:lnTo>
                  <a:pt x="160401" y="842530"/>
                </a:lnTo>
                <a:lnTo>
                  <a:pt x="142290" y="799680"/>
                </a:lnTo>
                <a:lnTo>
                  <a:pt x="130962" y="753719"/>
                </a:lnTo>
                <a:lnTo>
                  <a:pt x="127063" y="705281"/>
                </a:lnTo>
                <a:lnTo>
                  <a:pt x="130962" y="656831"/>
                </a:lnTo>
                <a:lnTo>
                  <a:pt x="142290" y="610882"/>
                </a:lnTo>
                <a:lnTo>
                  <a:pt x="160401" y="568032"/>
                </a:lnTo>
                <a:lnTo>
                  <a:pt x="184683" y="528891"/>
                </a:lnTo>
                <a:lnTo>
                  <a:pt x="214528" y="494093"/>
                </a:lnTo>
                <a:lnTo>
                  <a:pt x="249339" y="464235"/>
                </a:lnTo>
                <a:lnTo>
                  <a:pt x="288467" y="439953"/>
                </a:lnTo>
                <a:lnTo>
                  <a:pt x="331317" y="421843"/>
                </a:lnTo>
                <a:lnTo>
                  <a:pt x="377266" y="410527"/>
                </a:lnTo>
                <a:lnTo>
                  <a:pt x="425716" y="406615"/>
                </a:lnTo>
                <a:lnTo>
                  <a:pt x="476935" y="410984"/>
                </a:lnTo>
                <a:lnTo>
                  <a:pt x="525399" y="423608"/>
                </a:lnTo>
                <a:lnTo>
                  <a:pt x="570344" y="443750"/>
                </a:lnTo>
                <a:lnTo>
                  <a:pt x="611022" y="470687"/>
                </a:lnTo>
                <a:lnTo>
                  <a:pt x="646696" y="503707"/>
                </a:lnTo>
                <a:lnTo>
                  <a:pt x="676605" y="542048"/>
                </a:lnTo>
                <a:lnTo>
                  <a:pt x="699998" y="585012"/>
                </a:lnTo>
                <a:lnTo>
                  <a:pt x="716153" y="631863"/>
                </a:lnTo>
                <a:lnTo>
                  <a:pt x="401294" y="631863"/>
                </a:lnTo>
                <a:lnTo>
                  <a:pt x="401294" y="758913"/>
                </a:lnTo>
                <a:lnTo>
                  <a:pt x="845985" y="758913"/>
                </a:lnTo>
                <a:lnTo>
                  <a:pt x="845985" y="631863"/>
                </a:lnTo>
                <a:close/>
              </a:path>
              <a:path w="6922134" h="1153160">
                <a:moveTo>
                  <a:pt x="1736051" y="631583"/>
                </a:moveTo>
                <a:lnTo>
                  <a:pt x="1732813" y="583387"/>
                </a:lnTo>
                <a:lnTo>
                  <a:pt x="1723390" y="537298"/>
                </a:lnTo>
                <a:lnTo>
                  <a:pt x="1708213" y="493712"/>
                </a:lnTo>
                <a:lnTo>
                  <a:pt x="1687703" y="453021"/>
                </a:lnTo>
                <a:lnTo>
                  <a:pt x="1662290" y="415645"/>
                </a:lnTo>
                <a:lnTo>
                  <a:pt x="1632394" y="381952"/>
                </a:lnTo>
                <a:lnTo>
                  <a:pt x="1598460" y="352361"/>
                </a:lnTo>
                <a:lnTo>
                  <a:pt x="1560906" y="327253"/>
                </a:lnTo>
                <a:lnTo>
                  <a:pt x="1520151" y="307035"/>
                </a:lnTo>
                <a:lnTo>
                  <a:pt x="1476629" y="292112"/>
                </a:lnTo>
                <a:lnTo>
                  <a:pt x="1430769" y="282854"/>
                </a:lnTo>
                <a:lnTo>
                  <a:pt x="1382991" y="279692"/>
                </a:lnTo>
                <a:lnTo>
                  <a:pt x="1328674" y="283298"/>
                </a:lnTo>
                <a:lnTo>
                  <a:pt x="1276629" y="293827"/>
                </a:lnTo>
                <a:lnTo>
                  <a:pt x="1227315" y="310794"/>
                </a:lnTo>
                <a:lnTo>
                  <a:pt x="1181163" y="333730"/>
                </a:lnTo>
                <a:lnTo>
                  <a:pt x="1138605" y="362191"/>
                </a:lnTo>
                <a:lnTo>
                  <a:pt x="1100086" y="395693"/>
                </a:lnTo>
                <a:lnTo>
                  <a:pt x="1100086" y="314223"/>
                </a:lnTo>
                <a:lnTo>
                  <a:pt x="973035" y="314223"/>
                </a:lnTo>
                <a:lnTo>
                  <a:pt x="973035" y="758913"/>
                </a:lnTo>
                <a:lnTo>
                  <a:pt x="1100086" y="758913"/>
                </a:lnTo>
                <a:lnTo>
                  <a:pt x="1100086" y="653681"/>
                </a:lnTo>
                <a:lnTo>
                  <a:pt x="1109129" y="618350"/>
                </a:lnTo>
                <a:lnTo>
                  <a:pt x="1123543" y="581380"/>
                </a:lnTo>
                <a:lnTo>
                  <a:pt x="1143419" y="544322"/>
                </a:lnTo>
                <a:lnTo>
                  <a:pt x="1168869" y="508723"/>
                </a:lnTo>
                <a:lnTo>
                  <a:pt x="1199972" y="476135"/>
                </a:lnTo>
                <a:lnTo>
                  <a:pt x="1236827" y="448094"/>
                </a:lnTo>
                <a:lnTo>
                  <a:pt x="1279537" y="426161"/>
                </a:lnTo>
                <a:lnTo>
                  <a:pt x="1328191" y="411861"/>
                </a:lnTo>
                <a:lnTo>
                  <a:pt x="1382877" y="406742"/>
                </a:lnTo>
                <a:lnTo>
                  <a:pt x="1428254" y="411200"/>
                </a:lnTo>
                <a:lnTo>
                  <a:pt x="1470596" y="424053"/>
                </a:lnTo>
                <a:lnTo>
                  <a:pt x="1509001" y="444461"/>
                </a:lnTo>
                <a:lnTo>
                  <a:pt x="1542503" y="471627"/>
                </a:lnTo>
                <a:lnTo>
                  <a:pt x="1570189" y="504736"/>
                </a:lnTo>
                <a:lnTo>
                  <a:pt x="1591119" y="542963"/>
                </a:lnTo>
                <a:lnTo>
                  <a:pt x="1604365" y="585520"/>
                </a:lnTo>
                <a:lnTo>
                  <a:pt x="1608988" y="631583"/>
                </a:lnTo>
                <a:lnTo>
                  <a:pt x="1608988" y="1118082"/>
                </a:lnTo>
                <a:lnTo>
                  <a:pt x="1736051" y="1118082"/>
                </a:lnTo>
                <a:lnTo>
                  <a:pt x="1736051" y="631583"/>
                </a:lnTo>
                <a:close/>
              </a:path>
              <a:path w="6922134" h="1153160">
                <a:moveTo>
                  <a:pt x="2712847" y="0"/>
                </a:moveTo>
                <a:lnTo>
                  <a:pt x="2585796" y="0"/>
                </a:lnTo>
                <a:lnTo>
                  <a:pt x="2585796" y="400329"/>
                </a:lnTo>
                <a:lnTo>
                  <a:pt x="2551265" y="370116"/>
                </a:lnTo>
                <a:lnTo>
                  <a:pt x="2513584" y="343712"/>
                </a:lnTo>
                <a:lnTo>
                  <a:pt x="2473083" y="321437"/>
                </a:lnTo>
                <a:lnTo>
                  <a:pt x="2430056" y="303568"/>
                </a:lnTo>
                <a:lnTo>
                  <a:pt x="2384806" y="290436"/>
                </a:lnTo>
                <a:lnTo>
                  <a:pt x="2337625" y="282333"/>
                </a:lnTo>
                <a:lnTo>
                  <a:pt x="2288819" y="279565"/>
                </a:lnTo>
                <a:lnTo>
                  <a:pt x="2242439" y="282054"/>
                </a:lnTo>
                <a:lnTo>
                  <a:pt x="2197493" y="289382"/>
                </a:lnTo>
                <a:lnTo>
                  <a:pt x="2154263" y="301269"/>
                </a:lnTo>
                <a:lnTo>
                  <a:pt x="2113000" y="317449"/>
                </a:lnTo>
                <a:lnTo>
                  <a:pt x="2073960" y="337680"/>
                </a:lnTo>
                <a:lnTo>
                  <a:pt x="2037397" y="361696"/>
                </a:lnTo>
                <a:lnTo>
                  <a:pt x="2003590" y="389242"/>
                </a:lnTo>
                <a:lnTo>
                  <a:pt x="1972779" y="420039"/>
                </a:lnTo>
                <a:lnTo>
                  <a:pt x="1945246" y="453859"/>
                </a:lnTo>
                <a:lnTo>
                  <a:pt x="1921230" y="490410"/>
                </a:lnTo>
                <a:lnTo>
                  <a:pt x="1900986" y="529450"/>
                </a:lnTo>
                <a:lnTo>
                  <a:pt x="1884807" y="570712"/>
                </a:lnTo>
                <a:lnTo>
                  <a:pt x="1872919" y="613943"/>
                </a:lnTo>
                <a:lnTo>
                  <a:pt x="1865591" y="658888"/>
                </a:lnTo>
                <a:lnTo>
                  <a:pt x="1863102" y="705281"/>
                </a:lnTo>
                <a:lnTo>
                  <a:pt x="1865591" y="751662"/>
                </a:lnTo>
                <a:lnTo>
                  <a:pt x="1872919" y="796607"/>
                </a:lnTo>
                <a:lnTo>
                  <a:pt x="1884807" y="839838"/>
                </a:lnTo>
                <a:lnTo>
                  <a:pt x="1900986" y="881100"/>
                </a:lnTo>
                <a:lnTo>
                  <a:pt x="1921230" y="920140"/>
                </a:lnTo>
                <a:lnTo>
                  <a:pt x="1945246" y="956703"/>
                </a:lnTo>
                <a:lnTo>
                  <a:pt x="1972779" y="990511"/>
                </a:lnTo>
                <a:lnTo>
                  <a:pt x="2003590" y="1021308"/>
                </a:lnTo>
                <a:lnTo>
                  <a:pt x="2037397" y="1048854"/>
                </a:lnTo>
                <a:lnTo>
                  <a:pt x="2073960" y="1072870"/>
                </a:lnTo>
                <a:lnTo>
                  <a:pt x="2113000" y="1093101"/>
                </a:lnTo>
                <a:lnTo>
                  <a:pt x="2154263" y="1109281"/>
                </a:lnTo>
                <a:lnTo>
                  <a:pt x="2197493" y="1121168"/>
                </a:lnTo>
                <a:lnTo>
                  <a:pt x="2242439" y="1128496"/>
                </a:lnTo>
                <a:lnTo>
                  <a:pt x="2288819" y="1130985"/>
                </a:lnTo>
                <a:lnTo>
                  <a:pt x="2340622" y="1127874"/>
                </a:lnTo>
                <a:lnTo>
                  <a:pt x="2390571" y="1118755"/>
                </a:lnTo>
                <a:lnTo>
                  <a:pt x="2438311" y="1103998"/>
                </a:lnTo>
                <a:lnTo>
                  <a:pt x="2483472" y="1083983"/>
                </a:lnTo>
                <a:lnTo>
                  <a:pt x="2525699" y="1059053"/>
                </a:lnTo>
                <a:lnTo>
                  <a:pt x="2454999" y="953465"/>
                </a:lnTo>
                <a:lnTo>
                  <a:pt x="2417648" y="974801"/>
                </a:lnTo>
                <a:lnTo>
                  <a:pt x="2377160" y="990663"/>
                </a:lnTo>
                <a:lnTo>
                  <a:pt x="2334056" y="1000544"/>
                </a:lnTo>
                <a:lnTo>
                  <a:pt x="2288819" y="1003947"/>
                </a:lnTo>
                <a:lnTo>
                  <a:pt x="2240381" y="1000036"/>
                </a:lnTo>
                <a:lnTo>
                  <a:pt x="2194420" y="988720"/>
                </a:lnTo>
                <a:lnTo>
                  <a:pt x="2151570" y="970610"/>
                </a:lnTo>
                <a:lnTo>
                  <a:pt x="2112429" y="946315"/>
                </a:lnTo>
                <a:lnTo>
                  <a:pt x="2077631" y="916470"/>
                </a:lnTo>
                <a:lnTo>
                  <a:pt x="2047786" y="881672"/>
                </a:lnTo>
                <a:lnTo>
                  <a:pt x="2023491" y="842530"/>
                </a:lnTo>
                <a:lnTo>
                  <a:pt x="2005380" y="799680"/>
                </a:lnTo>
                <a:lnTo>
                  <a:pt x="1994065" y="753719"/>
                </a:lnTo>
                <a:lnTo>
                  <a:pt x="1990153" y="705281"/>
                </a:lnTo>
                <a:lnTo>
                  <a:pt x="1994065" y="656831"/>
                </a:lnTo>
                <a:lnTo>
                  <a:pt x="2005380" y="610882"/>
                </a:lnTo>
                <a:lnTo>
                  <a:pt x="2023491" y="568020"/>
                </a:lnTo>
                <a:lnTo>
                  <a:pt x="2047786" y="528891"/>
                </a:lnTo>
                <a:lnTo>
                  <a:pt x="2077631" y="494093"/>
                </a:lnTo>
                <a:lnTo>
                  <a:pt x="2112429" y="464248"/>
                </a:lnTo>
                <a:lnTo>
                  <a:pt x="2151570" y="439953"/>
                </a:lnTo>
                <a:lnTo>
                  <a:pt x="2194420" y="421843"/>
                </a:lnTo>
                <a:lnTo>
                  <a:pt x="2240381" y="410527"/>
                </a:lnTo>
                <a:lnTo>
                  <a:pt x="2288819" y="406615"/>
                </a:lnTo>
                <a:lnTo>
                  <a:pt x="2339111" y="410832"/>
                </a:lnTo>
                <a:lnTo>
                  <a:pt x="2386685" y="423024"/>
                </a:lnTo>
                <a:lnTo>
                  <a:pt x="2430856" y="442493"/>
                </a:lnTo>
                <a:lnTo>
                  <a:pt x="2470937" y="468553"/>
                </a:lnTo>
                <a:lnTo>
                  <a:pt x="2506230" y="500519"/>
                </a:lnTo>
                <a:lnTo>
                  <a:pt x="2536050" y="537692"/>
                </a:lnTo>
                <a:lnTo>
                  <a:pt x="2559710" y="579386"/>
                </a:lnTo>
                <a:lnTo>
                  <a:pt x="2576525" y="624928"/>
                </a:lnTo>
                <a:lnTo>
                  <a:pt x="2585796" y="673608"/>
                </a:lnTo>
                <a:lnTo>
                  <a:pt x="2585796" y="1118069"/>
                </a:lnTo>
                <a:lnTo>
                  <a:pt x="2712847" y="1118069"/>
                </a:lnTo>
                <a:lnTo>
                  <a:pt x="2712847" y="0"/>
                </a:lnTo>
                <a:close/>
              </a:path>
              <a:path w="6922134" h="1153160">
                <a:moveTo>
                  <a:pt x="3685883" y="631863"/>
                </a:moveTo>
                <a:lnTo>
                  <a:pt x="3675418" y="586574"/>
                </a:lnTo>
                <a:lnTo>
                  <a:pt x="3660229" y="543280"/>
                </a:lnTo>
                <a:lnTo>
                  <a:pt x="3640645" y="502259"/>
                </a:lnTo>
                <a:lnTo>
                  <a:pt x="3616922" y="463778"/>
                </a:lnTo>
                <a:lnTo>
                  <a:pt x="3589375" y="428155"/>
                </a:lnTo>
                <a:lnTo>
                  <a:pt x="3558273" y="395655"/>
                </a:lnTo>
                <a:lnTo>
                  <a:pt x="3523919" y="366560"/>
                </a:lnTo>
                <a:lnTo>
                  <a:pt x="3486607" y="341172"/>
                </a:lnTo>
                <a:lnTo>
                  <a:pt x="3446602" y="319747"/>
                </a:lnTo>
                <a:lnTo>
                  <a:pt x="3404222" y="302590"/>
                </a:lnTo>
                <a:lnTo>
                  <a:pt x="3359734" y="289991"/>
                </a:lnTo>
                <a:lnTo>
                  <a:pt x="3313442" y="282219"/>
                </a:lnTo>
                <a:lnTo>
                  <a:pt x="3265627" y="279565"/>
                </a:lnTo>
                <a:lnTo>
                  <a:pt x="3219234" y="282067"/>
                </a:lnTo>
                <a:lnTo>
                  <a:pt x="3174301" y="289382"/>
                </a:lnTo>
                <a:lnTo>
                  <a:pt x="3131058" y="301269"/>
                </a:lnTo>
                <a:lnTo>
                  <a:pt x="3089795" y="317461"/>
                </a:lnTo>
                <a:lnTo>
                  <a:pt x="3050756" y="337693"/>
                </a:lnTo>
                <a:lnTo>
                  <a:pt x="3014205" y="361708"/>
                </a:lnTo>
                <a:lnTo>
                  <a:pt x="2980385" y="389242"/>
                </a:lnTo>
                <a:lnTo>
                  <a:pt x="2949587" y="420052"/>
                </a:lnTo>
                <a:lnTo>
                  <a:pt x="2922041" y="453859"/>
                </a:lnTo>
                <a:lnTo>
                  <a:pt x="2898025" y="490410"/>
                </a:lnTo>
                <a:lnTo>
                  <a:pt x="2877794" y="529450"/>
                </a:lnTo>
                <a:lnTo>
                  <a:pt x="2861614" y="570725"/>
                </a:lnTo>
                <a:lnTo>
                  <a:pt x="2849727" y="613956"/>
                </a:lnTo>
                <a:lnTo>
                  <a:pt x="2842399" y="658888"/>
                </a:lnTo>
                <a:lnTo>
                  <a:pt x="2839910" y="705281"/>
                </a:lnTo>
                <a:lnTo>
                  <a:pt x="2842399" y="751662"/>
                </a:lnTo>
                <a:lnTo>
                  <a:pt x="2849727" y="796607"/>
                </a:lnTo>
                <a:lnTo>
                  <a:pt x="2861614" y="839838"/>
                </a:lnTo>
                <a:lnTo>
                  <a:pt x="2877794" y="881100"/>
                </a:lnTo>
                <a:lnTo>
                  <a:pt x="2898025" y="920153"/>
                </a:lnTo>
                <a:lnTo>
                  <a:pt x="2922041" y="956703"/>
                </a:lnTo>
                <a:lnTo>
                  <a:pt x="2949587" y="990511"/>
                </a:lnTo>
                <a:lnTo>
                  <a:pt x="2980385" y="1021321"/>
                </a:lnTo>
                <a:lnTo>
                  <a:pt x="3014205" y="1048854"/>
                </a:lnTo>
                <a:lnTo>
                  <a:pt x="3050756" y="1072870"/>
                </a:lnTo>
                <a:lnTo>
                  <a:pt x="3089795" y="1093101"/>
                </a:lnTo>
                <a:lnTo>
                  <a:pt x="3131058" y="1109294"/>
                </a:lnTo>
                <a:lnTo>
                  <a:pt x="3174301" y="1121181"/>
                </a:lnTo>
                <a:lnTo>
                  <a:pt x="3219234" y="1128496"/>
                </a:lnTo>
                <a:lnTo>
                  <a:pt x="3265627" y="1130998"/>
                </a:lnTo>
                <a:lnTo>
                  <a:pt x="3316440" y="1127988"/>
                </a:lnTo>
                <a:lnTo>
                  <a:pt x="3365500" y="1119212"/>
                </a:lnTo>
                <a:lnTo>
                  <a:pt x="3412426" y="1105001"/>
                </a:lnTo>
                <a:lnTo>
                  <a:pt x="3456902" y="1085697"/>
                </a:lnTo>
                <a:lnTo>
                  <a:pt x="3498583" y="1061656"/>
                </a:lnTo>
                <a:lnTo>
                  <a:pt x="3537115" y="1033208"/>
                </a:lnTo>
                <a:lnTo>
                  <a:pt x="3572167" y="1000696"/>
                </a:lnTo>
                <a:lnTo>
                  <a:pt x="3603383" y="964463"/>
                </a:lnTo>
                <a:lnTo>
                  <a:pt x="3502583" y="887107"/>
                </a:lnTo>
                <a:lnTo>
                  <a:pt x="3472764" y="920432"/>
                </a:lnTo>
                <a:lnTo>
                  <a:pt x="3438321" y="948969"/>
                </a:lnTo>
                <a:lnTo>
                  <a:pt x="3399815" y="972159"/>
                </a:lnTo>
                <a:lnTo>
                  <a:pt x="3357816" y="989431"/>
                </a:lnTo>
                <a:lnTo>
                  <a:pt x="3312896" y="1000213"/>
                </a:lnTo>
                <a:lnTo>
                  <a:pt x="3265627" y="1003935"/>
                </a:lnTo>
                <a:lnTo>
                  <a:pt x="3217176" y="1000023"/>
                </a:lnTo>
                <a:lnTo>
                  <a:pt x="3171228" y="988707"/>
                </a:lnTo>
                <a:lnTo>
                  <a:pt x="3128365" y="970597"/>
                </a:lnTo>
                <a:lnTo>
                  <a:pt x="3089237" y="946315"/>
                </a:lnTo>
                <a:lnTo>
                  <a:pt x="3054439" y="916457"/>
                </a:lnTo>
                <a:lnTo>
                  <a:pt x="3024581" y="881659"/>
                </a:lnTo>
                <a:lnTo>
                  <a:pt x="3000298" y="842530"/>
                </a:lnTo>
                <a:lnTo>
                  <a:pt x="2982176" y="799680"/>
                </a:lnTo>
                <a:lnTo>
                  <a:pt x="2970860" y="753719"/>
                </a:lnTo>
                <a:lnTo>
                  <a:pt x="2966961" y="705281"/>
                </a:lnTo>
                <a:lnTo>
                  <a:pt x="2970860" y="656831"/>
                </a:lnTo>
                <a:lnTo>
                  <a:pt x="2982176" y="610882"/>
                </a:lnTo>
                <a:lnTo>
                  <a:pt x="3000298" y="568032"/>
                </a:lnTo>
                <a:lnTo>
                  <a:pt x="3024581" y="528891"/>
                </a:lnTo>
                <a:lnTo>
                  <a:pt x="3054439" y="494093"/>
                </a:lnTo>
                <a:lnTo>
                  <a:pt x="3089237" y="464235"/>
                </a:lnTo>
                <a:lnTo>
                  <a:pt x="3128365" y="439953"/>
                </a:lnTo>
                <a:lnTo>
                  <a:pt x="3171228" y="421843"/>
                </a:lnTo>
                <a:lnTo>
                  <a:pt x="3217176" y="410527"/>
                </a:lnTo>
                <a:lnTo>
                  <a:pt x="3265627" y="406615"/>
                </a:lnTo>
                <a:lnTo>
                  <a:pt x="3316846" y="410984"/>
                </a:lnTo>
                <a:lnTo>
                  <a:pt x="3365296" y="423608"/>
                </a:lnTo>
                <a:lnTo>
                  <a:pt x="3410242" y="443750"/>
                </a:lnTo>
                <a:lnTo>
                  <a:pt x="3450920" y="470687"/>
                </a:lnTo>
                <a:lnTo>
                  <a:pt x="3486594" y="503707"/>
                </a:lnTo>
                <a:lnTo>
                  <a:pt x="3516503" y="542048"/>
                </a:lnTo>
                <a:lnTo>
                  <a:pt x="3539896" y="585012"/>
                </a:lnTo>
                <a:lnTo>
                  <a:pt x="3556050" y="631863"/>
                </a:lnTo>
                <a:lnTo>
                  <a:pt x="3241192" y="631863"/>
                </a:lnTo>
                <a:lnTo>
                  <a:pt x="3241192" y="758913"/>
                </a:lnTo>
                <a:lnTo>
                  <a:pt x="3685883" y="758913"/>
                </a:lnTo>
                <a:lnTo>
                  <a:pt x="3685883" y="631863"/>
                </a:lnTo>
                <a:close/>
              </a:path>
              <a:path w="6922134" h="1153160">
                <a:moveTo>
                  <a:pt x="4434929" y="820381"/>
                </a:moveTo>
                <a:lnTo>
                  <a:pt x="4432147" y="770496"/>
                </a:lnTo>
                <a:lnTo>
                  <a:pt x="3939159" y="565873"/>
                </a:lnTo>
                <a:lnTo>
                  <a:pt x="3950297" y="528053"/>
                </a:lnTo>
                <a:lnTo>
                  <a:pt x="3970921" y="491274"/>
                </a:lnTo>
                <a:lnTo>
                  <a:pt x="3999484" y="458139"/>
                </a:lnTo>
                <a:lnTo>
                  <a:pt x="4034472" y="431253"/>
                </a:lnTo>
                <a:lnTo>
                  <a:pt x="4074376" y="413207"/>
                </a:lnTo>
                <a:lnTo>
                  <a:pt x="4117657" y="406615"/>
                </a:lnTo>
                <a:lnTo>
                  <a:pt x="4216603" y="429564"/>
                </a:lnTo>
                <a:lnTo>
                  <a:pt x="4271696" y="480047"/>
                </a:lnTo>
                <a:lnTo>
                  <a:pt x="4295533" y="530542"/>
                </a:lnTo>
                <a:lnTo>
                  <a:pt x="4300690" y="553478"/>
                </a:lnTo>
                <a:lnTo>
                  <a:pt x="4427867" y="521970"/>
                </a:lnTo>
                <a:lnTo>
                  <a:pt x="4399178" y="381825"/>
                </a:lnTo>
                <a:lnTo>
                  <a:pt x="4357052" y="309867"/>
                </a:lnTo>
                <a:lnTo>
                  <a:pt x="4272216" y="283349"/>
                </a:lnTo>
                <a:lnTo>
                  <a:pt x="4115346" y="279565"/>
                </a:lnTo>
                <a:lnTo>
                  <a:pt x="4062971" y="284022"/>
                </a:lnTo>
                <a:lnTo>
                  <a:pt x="4014508" y="296722"/>
                </a:lnTo>
                <a:lnTo>
                  <a:pt x="3970337" y="316699"/>
                </a:lnTo>
                <a:lnTo>
                  <a:pt x="3930827" y="342988"/>
                </a:lnTo>
                <a:lnTo>
                  <a:pt x="3896372" y="374611"/>
                </a:lnTo>
                <a:lnTo>
                  <a:pt x="3867340" y="410591"/>
                </a:lnTo>
                <a:lnTo>
                  <a:pt x="3844112" y="449961"/>
                </a:lnTo>
                <a:lnTo>
                  <a:pt x="3827043" y="491744"/>
                </a:lnTo>
                <a:lnTo>
                  <a:pt x="3816527" y="534974"/>
                </a:lnTo>
                <a:lnTo>
                  <a:pt x="3812946" y="578662"/>
                </a:lnTo>
                <a:lnTo>
                  <a:pt x="3813429" y="605129"/>
                </a:lnTo>
                <a:lnTo>
                  <a:pt x="3814483" y="630047"/>
                </a:lnTo>
                <a:lnTo>
                  <a:pt x="3816019" y="655802"/>
                </a:lnTo>
                <a:lnTo>
                  <a:pt x="4312196" y="839241"/>
                </a:lnTo>
                <a:lnTo>
                  <a:pt x="4305287" y="883462"/>
                </a:lnTo>
                <a:lnTo>
                  <a:pt x="4285843" y="922921"/>
                </a:lnTo>
                <a:lnTo>
                  <a:pt x="4255808" y="956170"/>
                </a:lnTo>
                <a:lnTo>
                  <a:pt x="4217162" y="981735"/>
                </a:lnTo>
                <a:lnTo>
                  <a:pt x="4171835" y="998143"/>
                </a:lnTo>
                <a:lnTo>
                  <a:pt x="4121772" y="1003935"/>
                </a:lnTo>
                <a:lnTo>
                  <a:pt x="4025646" y="979932"/>
                </a:lnTo>
                <a:lnTo>
                  <a:pt x="3970921" y="927112"/>
                </a:lnTo>
                <a:lnTo>
                  <a:pt x="3946334" y="874293"/>
                </a:lnTo>
                <a:lnTo>
                  <a:pt x="3940645" y="850277"/>
                </a:lnTo>
                <a:lnTo>
                  <a:pt x="3814965" y="883793"/>
                </a:lnTo>
                <a:lnTo>
                  <a:pt x="3844975" y="1026706"/>
                </a:lnTo>
                <a:lnTo>
                  <a:pt x="3887178" y="1100099"/>
                </a:lnTo>
                <a:lnTo>
                  <a:pt x="3970553" y="1127137"/>
                </a:lnTo>
                <a:lnTo>
                  <a:pt x="4124083" y="1130998"/>
                </a:lnTo>
                <a:lnTo>
                  <a:pt x="4175087" y="1127201"/>
                </a:lnTo>
                <a:lnTo>
                  <a:pt x="4222077" y="1116291"/>
                </a:lnTo>
                <a:lnTo>
                  <a:pt x="4264863" y="1099032"/>
                </a:lnTo>
                <a:lnTo>
                  <a:pt x="4303280" y="1076134"/>
                </a:lnTo>
                <a:lnTo>
                  <a:pt x="4337151" y="1048359"/>
                </a:lnTo>
                <a:lnTo>
                  <a:pt x="4366285" y="1016431"/>
                </a:lnTo>
                <a:lnTo>
                  <a:pt x="4390529" y="981087"/>
                </a:lnTo>
                <a:lnTo>
                  <a:pt x="4409694" y="943076"/>
                </a:lnTo>
                <a:lnTo>
                  <a:pt x="4423600" y="903122"/>
                </a:lnTo>
                <a:lnTo>
                  <a:pt x="4432071" y="861974"/>
                </a:lnTo>
                <a:lnTo>
                  <a:pt x="4434929" y="820381"/>
                </a:lnTo>
                <a:close/>
              </a:path>
              <a:path w="6922134" h="1153160">
                <a:moveTo>
                  <a:pt x="5404561" y="298259"/>
                </a:moveTo>
                <a:lnTo>
                  <a:pt x="5277497" y="298259"/>
                </a:lnTo>
                <a:lnTo>
                  <a:pt x="5277497" y="400329"/>
                </a:lnTo>
                <a:lnTo>
                  <a:pt x="5242966" y="370116"/>
                </a:lnTo>
                <a:lnTo>
                  <a:pt x="5205298" y="343712"/>
                </a:lnTo>
                <a:lnTo>
                  <a:pt x="5164798" y="321424"/>
                </a:lnTo>
                <a:lnTo>
                  <a:pt x="5121757" y="303568"/>
                </a:lnTo>
                <a:lnTo>
                  <a:pt x="5076507" y="290436"/>
                </a:lnTo>
                <a:lnTo>
                  <a:pt x="5029327" y="282321"/>
                </a:lnTo>
                <a:lnTo>
                  <a:pt x="4980521" y="279552"/>
                </a:lnTo>
                <a:lnTo>
                  <a:pt x="4934140" y="282054"/>
                </a:lnTo>
                <a:lnTo>
                  <a:pt x="4889195" y="289369"/>
                </a:lnTo>
                <a:lnTo>
                  <a:pt x="4845964" y="301256"/>
                </a:lnTo>
                <a:lnTo>
                  <a:pt x="4804689" y="317449"/>
                </a:lnTo>
                <a:lnTo>
                  <a:pt x="4765649" y="337680"/>
                </a:lnTo>
                <a:lnTo>
                  <a:pt x="4729099" y="361696"/>
                </a:lnTo>
                <a:lnTo>
                  <a:pt x="4695291" y="389242"/>
                </a:lnTo>
                <a:lnTo>
                  <a:pt x="4664481" y="420039"/>
                </a:lnTo>
                <a:lnTo>
                  <a:pt x="4636948" y="453847"/>
                </a:lnTo>
                <a:lnTo>
                  <a:pt x="4612932" y="490410"/>
                </a:lnTo>
                <a:lnTo>
                  <a:pt x="4592701" y="529450"/>
                </a:lnTo>
                <a:lnTo>
                  <a:pt x="4576508" y="570712"/>
                </a:lnTo>
                <a:lnTo>
                  <a:pt x="4564621" y="613956"/>
                </a:lnTo>
                <a:lnTo>
                  <a:pt x="4557306" y="658888"/>
                </a:lnTo>
                <a:lnTo>
                  <a:pt x="4554804" y="705281"/>
                </a:lnTo>
                <a:lnTo>
                  <a:pt x="4557306" y="751662"/>
                </a:lnTo>
                <a:lnTo>
                  <a:pt x="4564621" y="796607"/>
                </a:lnTo>
                <a:lnTo>
                  <a:pt x="4576508" y="839838"/>
                </a:lnTo>
                <a:lnTo>
                  <a:pt x="4592701" y="881100"/>
                </a:lnTo>
                <a:lnTo>
                  <a:pt x="4612932" y="920140"/>
                </a:lnTo>
                <a:lnTo>
                  <a:pt x="4636948" y="956703"/>
                </a:lnTo>
                <a:lnTo>
                  <a:pt x="4664481" y="990511"/>
                </a:lnTo>
                <a:lnTo>
                  <a:pt x="4695291" y="1021321"/>
                </a:lnTo>
                <a:lnTo>
                  <a:pt x="4729099" y="1048854"/>
                </a:lnTo>
                <a:lnTo>
                  <a:pt x="4765649" y="1072870"/>
                </a:lnTo>
                <a:lnTo>
                  <a:pt x="4804689" y="1093101"/>
                </a:lnTo>
                <a:lnTo>
                  <a:pt x="4845964" y="1109294"/>
                </a:lnTo>
                <a:lnTo>
                  <a:pt x="4889195" y="1121168"/>
                </a:lnTo>
                <a:lnTo>
                  <a:pt x="4934140" y="1128496"/>
                </a:lnTo>
                <a:lnTo>
                  <a:pt x="4980521" y="1130998"/>
                </a:lnTo>
                <a:lnTo>
                  <a:pt x="5032324" y="1127874"/>
                </a:lnTo>
                <a:lnTo>
                  <a:pt x="5082273" y="1118755"/>
                </a:lnTo>
                <a:lnTo>
                  <a:pt x="5130012" y="1104011"/>
                </a:lnTo>
                <a:lnTo>
                  <a:pt x="5175174" y="1083983"/>
                </a:lnTo>
                <a:lnTo>
                  <a:pt x="5217401" y="1059065"/>
                </a:lnTo>
                <a:lnTo>
                  <a:pt x="5146700" y="953477"/>
                </a:lnTo>
                <a:lnTo>
                  <a:pt x="5109349" y="974801"/>
                </a:lnTo>
                <a:lnTo>
                  <a:pt x="5068862" y="990663"/>
                </a:lnTo>
                <a:lnTo>
                  <a:pt x="5025758" y="1000544"/>
                </a:lnTo>
                <a:lnTo>
                  <a:pt x="4980521" y="1003947"/>
                </a:lnTo>
                <a:lnTo>
                  <a:pt x="4932083" y="1000036"/>
                </a:lnTo>
                <a:lnTo>
                  <a:pt x="4886122" y="988720"/>
                </a:lnTo>
                <a:lnTo>
                  <a:pt x="4843272" y="970610"/>
                </a:lnTo>
                <a:lnTo>
                  <a:pt x="4804143" y="946315"/>
                </a:lnTo>
                <a:lnTo>
                  <a:pt x="4769332" y="916470"/>
                </a:lnTo>
                <a:lnTo>
                  <a:pt x="4739487" y="881659"/>
                </a:lnTo>
                <a:lnTo>
                  <a:pt x="4715205" y="842530"/>
                </a:lnTo>
                <a:lnTo>
                  <a:pt x="4697095" y="799680"/>
                </a:lnTo>
                <a:lnTo>
                  <a:pt x="4685779" y="753719"/>
                </a:lnTo>
                <a:lnTo>
                  <a:pt x="4681867" y="705281"/>
                </a:lnTo>
                <a:lnTo>
                  <a:pt x="4685779" y="656831"/>
                </a:lnTo>
                <a:lnTo>
                  <a:pt x="4697095" y="610882"/>
                </a:lnTo>
                <a:lnTo>
                  <a:pt x="4715205" y="568032"/>
                </a:lnTo>
                <a:lnTo>
                  <a:pt x="4739487" y="528891"/>
                </a:lnTo>
                <a:lnTo>
                  <a:pt x="4769332" y="494093"/>
                </a:lnTo>
                <a:lnTo>
                  <a:pt x="4804143" y="464235"/>
                </a:lnTo>
                <a:lnTo>
                  <a:pt x="4843272" y="439953"/>
                </a:lnTo>
                <a:lnTo>
                  <a:pt x="4886122" y="421843"/>
                </a:lnTo>
                <a:lnTo>
                  <a:pt x="4932083" y="410527"/>
                </a:lnTo>
                <a:lnTo>
                  <a:pt x="4980521" y="406615"/>
                </a:lnTo>
                <a:lnTo>
                  <a:pt x="5030813" y="410832"/>
                </a:lnTo>
                <a:lnTo>
                  <a:pt x="5078387" y="423011"/>
                </a:lnTo>
                <a:lnTo>
                  <a:pt x="5122557" y="442480"/>
                </a:lnTo>
                <a:lnTo>
                  <a:pt x="5162626" y="468553"/>
                </a:lnTo>
                <a:lnTo>
                  <a:pt x="5197932" y="500507"/>
                </a:lnTo>
                <a:lnTo>
                  <a:pt x="5227752" y="537692"/>
                </a:lnTo>
                <a:lnTo>
                  <a:pt x="5251412" y="579386"/>
                </a:lnTo>
                <a:lnTo>
                  <a:pt x="5268226" y="624916"/>
                </a:lnTo>
                <a:lnTo>
                  <a:pt x="5277497" y="673595"/>
                </a:lnTo>
                <a:lnTo>
                  <a:pt x="5277497" y="1118082"/>
                </a:lnTo>
                <a:lnTo>
                  <a:pt x="5404561" y="1118082"/>
                </a:lnTo>
                <a:lnTo>
                  <a:pt x="5404561" y="298259"/>
                </a:lnTo>
                <a:close/>
              </a:path>
              <a:path w="6922134" h="1153160">
                <a:moveTo>
                  <a:pt x="6474777" y="838352"/>
                </a:moveTo>
                <a:lnTo>
                  <a:pt x="6384925" y="748499"/>
                </a:lnTo>
                <a:lnTo>
                  <a:pt x="6070676" y="1062748"/>
                </a:lnTo>
                <a:lnTo>
                  <a:pt x="6160528" y="1152601"/>
                </a:lnTo>
                <a:lnTo>
                  <a:pt x="6474777" y="838352"/>
                </a:lnTo>
                <a:close/>
              </a:path>
              <a:path w="6922134" h="1153160">
                <a:moveTo>
                  <a:pt x="6474777" y="615886"/>
                </a:moveTo>
                <a:lnTo>
                  <a:pt x="6160528" y="301637"/>
                </a:lnTo>
                <a:lnTo>
                  <a:pt x="6070676" y="391477"/>
                </a:lnTo>
                <a:lnTo>
                  <a:pt x="6384938" y="705726"/>
                </a:lnTo>
                <a:lnTo>
                  <a:pt x="6474777" y="615886"/>
                </a:lnTo>
                <a:close/>
              </a:path>
              <a:path w="6922134" h="1153160">
                <a:moveTo>
                  <a:pt x="6921640" y="1062748"/>
                </a:moveTo>
                <a:lnTo>
                  <a:pt x="6607391" y="748499"/>
                </a:lnTo>
                <a:lnTo>
                  <a:pt x="6517551" y="838352"/>
                </a:lnTo>
                <a:lnTo>
                  <a:pt x="6831800" y="1152601"/>
                </a:lnTo>
                <a:lnTo>
                  <a:pt x="6921640" y="1062748"/>
                </a:lnTo>
                <a:close/>
              </a:path>
              <a:path w="6922134" h="1153160">
                <a:moveTo>
                  <a:pt x="6921640" y="391477"/>
                </a:moveTo>
                <a:lnTo>
                  <a:pt x="6831800" y="301637"/>
                </a:lnTo>
                <a:lnTo>
                  <a:pt x="6517551" y="615886"/>
                </a:lnTo>
                <a:lnTo>
                  <a:pt x="6607391" y="705726"/>
                </a:lnTo>
                <a:lnTo>
                  <a:pt x="6921640" y="3914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08220295-CADD-B0B1-C74D-8B02845383E6}"/>
              </a:ext>
            </a:extLst>
          </p:cNvPr>
          <p:cNvSpPr txBox="1">
            <a:spLocks/>
          </p:cNvSpPr>
          <p:nvPr/>
        </p:nvSpPr>
        <p:spPr>
          <a:xfrm>
            <a:off x="2279804" y="1263221"/>
            <a:ext cx="21488187" cy="2797561"/>
          </a:xfrm>
          <a:prstGeom prst="rect">
            <a:avLst/>
          </a:prstGeom>
        </p:spPr>
        <p:txBody>
          <a:bodyPr vert="horz" wrap="square" lIns="0" tIns="14605" rIns="0" bIns="0" rtlCol="0">
            <a:spAutoFit/>
          </a:bodyPr>
          <a:lstStyle>
            <a:lvl1pPr>
              <a:defRPr sz="5300" b="1" i="0">
                <a:solidFill>
                  <a:srgbClr val="E94E0F"/>
                </a:solidFill>
                <a:latin typeface="Trebuchet MS"/>
                <a:ea typeface="+mj-ea"/>
                <a:cs typeface="Trebuchet MS"/>
              </a:defRPr>
            </a:lvl1pPr>
          </a:lstStyle>
          <a:p>
            <a:pPr marL="12699">
              <a:spcBef>
                <a:spcPts val="114"/>
              </a:spcBef>
            </a:pPr>
            <a:r>
              <a:rPr lang="ca-ES" sz="11999" kern="0" spc="56">
                <a:latin typeface="Roobert ENEL" panose="00000500000000000000" pitchFamily="50" charset="0"/>
              </a:rPr>
              <a:t>Conclusions
</a:t>
            </a:r>
            <a:r>
              <a:rPr lang="ca-ES" sz="6001" b="0" kern="0" spc="56">
                <a:latin typeface="Roobert ENEL" panose="00000500000000000000" pitchFamily="50" charset="0"/>
              </a:rPr>
              <a:t>Descarbonització en la indústria</a:t>
            </a:r>
            <a:endParaRPr lang="ca-ES" sz="6001" b="0" kern="0" spc="6">
              <a:latin typeface="Roobert ENEL" panose="00000500000000000000" pitchFamily="50" charset="0"/>
            </a:endParaRPr>
          </a:p>
        </p:txBody>
      </p:sp>
      <p:sp>
        <p:nvSpPr>
          <p:cNvPr id="3" name="object 61">
            <a:extLst>
              <a:ext uri="{FF2B5EF4-FFF2-40B4-BE49-F238E27FC236}">
                <a16:creationId xmlns:a16="http://schemas.microsoft.com/office/drawing/2014/main" id="{41155EF0-2D66-67C1-493E-18ABF26B2301}"/>
              </a:ext>
            </a:extLst>
          </p:cNvPr>
          <p:cNvSpPr txBox="1"/>
          <p:nvPr/>
        </p:nvSpPr>
        <p:spPr>
          <a:xfrm>
            <a:off x="3260200" y="5025186"/>
            <a:ext cx="21004147" cy="2563798"/>
          </a:xfrm>
          <a:prstGeom prst="rect">
            <a:avLst/>
          </a:prstGeom>
          <a:ln>
            <a:noFill/>
          </a:ln>
        </p:spPr>
        <p:txBody>
          <a:bodyPr vert="horz" wrap="square" lIns="0" tIns="37230" rIns="0" bIns="0" rtlCol="0">
            <a:spAutoFit/>
          </a:bodyPr>
          <a:lstStyle/>
          <a:p>
            <a:pPr marL="530528">
              <a:spcBef>
                <a:spcPts val="1759"/>
              </a:spcBef>
              <a:defRPr/>
            </a:pPr>
            <a:r>
              <a:rPr lang="ca-ES" sz="8208" spc="-29">
                <a:solidFill>
                  <a:schemeClr val="bg1"/>
                </a:solidFill>
                <a:latin typeface="Roobert ENEL" panose="00000500000000000000"/>
                <a:ea typeface="Verdana" panose="020B0604030504040204" pitchFamily="34" charset="0"/>
                <a:cs typeface="Arial"/>
              </a:rPr>
              <a:t>La indústria ha de continuar liderant la descarbonització, no hi ha alternativa.</a:t>
            </a:r>
          </a:p>
        </p:txBody>
      </p:sp>
      <p:sp>
        <p:nvSpPr>
          <p:cNvPr id="4" name="object 61">
            <a:extLst>
              <a:ext uri="{FF2B5EF4-FFF2-40B4-BE49-F238E27FC236}">
                <a16:creationId xmlns:a16="http://schemas.microsoft.com/office/drawing/2014/main" id="{B385F83C-5292-22A3-E28F-833EACD51B63}"/>
              </a:ext>
            </a:extLst>
          </p:cNvPr>
          <p:cNvSpPr txBox="1"/>
          <p:nvPr/>
        </p:nvSpPr>
        <p:spPr>
          <a:xfrm>
            <a:off x="3260199" y="8669521"/>
            <a:ext cx="21473339" cy="1300696"/>
          </a:xfrm>
          <a:prstGeom prst="rect">
            <a:avLst/>
          </a:prstGeom>
          <a:ln>
            <a:noFill/>
          </a:ln>
        </p:spPr>
        <p:txBody>
          <a:bodyPr vert="horz" wrap="square" lIns="0" tIns="37230" rIns="0" bIns="0" rtlCol="0">
            <a:spAutoFit/>
          </a:bodyPr>
          <a:lstStyle/>
          <a:p>
            <a:pPr marL="530528">
              <a:spcBef>
                <a:spcPts val="1759"/>
              </a:spcBef>
              <a:defRPr/>
            </a:pPr>
            <a:r>
              <a:rPr lang="ca-ES" sz="8208" spc="-29">
                <a:solidFill>
                  <a:schemeClr val="bg1"/>
                </a:solidFill>
                <a:latin typeface="Roobert ENEL" panose="00000500000000000000"/>
                <a:ea typeface="Verdana" panose="020B0604030504040204" pitchFamily="34" charset="0"/>
                <a:cs typeface="Arial"/>
              </a:rPr>
              <a:t>És tan necessari dissenyar un pla com executar-lo</a:t>
            </a:r>
            <a:r>
              <a:rPr lang="ca-ES" sz="8208" b="1" spc="-29">
                <a:solidFill>
                  <a:schemeClr val="bg1"/>
                </a:solidFill>
                <a:latin typeface="Roobert ENEL" panose="00000500000000000000"/>
                <a:ea typeface="Verdana" panose="020B0604030504040204" pitchFamily="34" charset="0"/>
                <a:cs typeface="Arial"/>
              </a:rPr>
              <a:t>.</a:t>
            </a:r>
          </a:p>
        </p:txBody>
      </p:sp>
      <p:sp>
        <p:nvSpPr>
          <p:cNvPr id="5" name="object 61">
            <a:extLst>
              <a:ext uri="{FF2B5EF4-FFF2-40B4-BE49-F238E27FC236}">
                <a16:creationId xmlns:a16="http://schemas.microsoft.com/office/drawing/2014/main" id="{F166BF5D-5122-A8A0-3B67-EFAAE0CAC9A5}"/>
              </a:ext>
            </a:extLst>
          </p:cNvPr>
          <p:cNvSpPr txBox="1"/>
          <p:nvPr/>
        </p:nvSpPr>
        <p:spPr>
          <a:xfrm>
            <a:off x="3260199" y="12209378"/>
            <a:ext cx="21004150" cy="2563798"/>
          </a:xfrm>
          <a:prstGeom prst="rect">
            <a:avLst/>
          </a:prstGeom>
          <a:ln>
            <a:noFill/>
          </a:ln>
        </p:spPr>
        <p:txBody>
          <a:bodyPr vert="horz" wrap="square" lIns="0" tIns="37230" rIns="0" bIns="0" rtlCol="0">
            <a:spAutoFit/>
          </a:bodyPr>
          <a:lstStyle/>
          <a:p>
            <a:pPr marL="530528">
              <a:spcBef>
                <a:spcPts val="1759"/>
              </a:spcBef>
              <a:defRPr/>
            </a:pPr>
            <a:r>
              <a:rPr lang="ca-ES" sz="8208" spc="-29">
                <a:solidFill>
                  <a:schemeClr val="bg1"/>
                </a:solidFill>
                <a:latin typeface="Roobert ENEL" panose="00000500000000000000"/>
                <a:ea typeface="Verdana" panose="020B0604030504040204" pitchFamily="34" charset="0"/>
                <a:cs typeface="Arial"/>
              </a:rPr>
              <a:t>No hi ha una única solució ni un únic camí, és un conjunt d' actuacions i tecnologies.</a:t>
            </a:r>
            <a:endParaRPr lang="ca-ES" sz="8208" b="1" spc="-29">
              <a:solidFill>
                <a:schemeClr val="bg1"/>
              </a:solidFill>
              <a:latin typeface="Roobert ENEL" panose="00000500000000000000"/>
              <a:ea typeface="Verdana" panose="020B0604030504040204" pitchFamily="34" charset="0"/>
              <a:cs typeface="Arial"/>
            </a:endParaRPr>
          </a:p>
        </p:txBody>
      </p:sp>
      <p:sp>
        <p:nvSpPr>
          <p:cNvPr id="9" name="object 61">
            <a:extLst>
              <a:ext uri="{FF2B5EF4-FFF2-40B4-BE49-F238E27FC236}">
                <a16:creationId xmlns:a16="http://schemas.microsoft.com/office/drawing/2014/main" id="{24FF2195-79E9-5C74-3FA4-E1B1F5939151}"/>
              </a:ext>
            </a:extLst>
          </p:cNvPr>
          <p:cNvSpPr txBox="1"/>
          <p:nvPr/>
        </p:nvSpPr>
        <p:spPr>
          <a:xfrm>
            <a:off x="3260196" y="15749235"/>
            <a:ext cx="21004150" cy="2563798"/>
          </a:xfrm>
          <a:prstGeom prst="rect">
            <a:avLst/>
          </a:prstGeom>
          <a:ln>
            <a:noFill/>
          </a:ln>
        </p:spPr>
        <p:txBody>
          <a:bodyPr vert="horz" wrap="square" lIns="0" tIns="37230" rIns="0" bIns="0" rtlCol="0">
            <a:spAutoFit/>
          </a:bodyPr>
          <a:lstStyle/>
          <a:p>
            <a:pPr marL="530528">
              <a:spcBef>
                <a:spcPts val="1759"/>
              </a:spcBef>
              <a:defRPr/>
            </a:pPr>
            <a:r>
              <a:rPr lang="ca-ES" sz="8208" spc="-29">
                <a:solidFill>
                  <a:schemeClr val="bg1"/>
                </a:solidFill>
                <a:latin typeface="Roobert ENEL" panose="00000500000000000000"/>
                <a:ea typeface="Verdana" panose="020B0604030504040204" pitchFamily="34" charset="0"/>
                <a:cs typeface="Arial"/>
              </a:rPr>
              <a:t>L'electrificació directa i indirecta és factible, necessitem una aposta de tots els actors.</a:t>
            </a:r>
          </a:p>
        </p:txBody>
      </p:sp>
      <p:pic>
        <p:nvPicPr>
          <p:cNvPr id="10" name="Gráfico 9" descr="Insignia 4 con relleno sólido">
            <a:extLst>
              <a:ext uri="{FF2B5EF4-FFF2-40B4-BE49-F238E27FC236}">
                <a16:creationId xmlns:a16="http://schemas.microsoft.com/office/drawing/2014/main" id="{5D062333-48B8-35F0-EDEE-493D032E3D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9600" y="15572261"/>
            <a:ext cx="2321733" cy="2321733"/>
          </a:xfrm>
          <a:prstGeom prst="rect">
            <a:avLst/>
          </a:prstGeom>
        </p:spPr>
      </p:pic>
      <p:pic>
        <p:nvPicPr>
          <p:cNvPr id="11" name="Gráfico 10" descr="Insignia 3 con relleno sólido">
            <a:extLst>
              <a:ext uri="{FF2B5EF4-FFF2-40B4-BE49-F238E27FC236}">
                <a16:creationId xmlns:a16="http://schemas.microsoft.com/office/drawing/2014/main" id="{B3000A95-83DF-0769-E83A-EB9A82EE266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9600" y="11890552"/>
            <a:ext cx="2321733" cy="2321733"/>
          </a:xfrm>
          <a:prstGeom prst="rect">
            <a:avLst/>
          </a:prstGeom>
        </p:spPr>
      </p:pic>
      <p:pic>
        <p:nvPicPr>
          <p:cNvPr id="12" name="Gráfico 11" descr="Insignia 1 con relleno sólido">
            <a:extLst>
              <a:ext uri="{FF2B5EF4-FFF2-40B4-BE49-F238E27FC236}">
                <a16:creationId xmlns:a16="http://schemas.microsoft.com/office/drawing/2014/main" id="{2C5869F7-FBDC-7BAA-4D40-0BC84B65CB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99600" y="4778591"/>
            <a:ext cx="2321733" cy="2321733"/>
          </a:xfrm>
          <a:prstGeom prst="rect">
            <a:avLst/>
          </a:prstGeom>
        </p:spPr>
      </p:pic>
      <p:pic>
        <p:nvPicPr>
          <p:cNvPr id="13" name="Gráfico 12" descr="Insignia con relleno sólido">
            <a:extLst>
              <a:ext uri="{FF2B5EF4-FFF2-40B4-BE49-F238E27FC236}">
                <a16:creationId xmlns:a16="http://schemas.microsoft.com/office/drawing/2014/main" id="{8451DA2F-0A27-470C-8615-BEF0235015E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99600" y="8410435"/>
            <a:ext cx="2321733" cy="2321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562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61E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2">
            <a:extLst>
              <a:ext uri="{FF2B5EF4-FFF2-40B4-BE49-F238E27FC236}">
                <a16:creationId xmlns:a16="http://schemas.microsoft.com/office/drawing/2014/main" id="{28813C3B-29FE-4BE3-A5EB-079BAB0A00B6}"/>
              </a:ext>
            </a:extLst>
          </p:cNvPr>
          <p:cNvSpPr txBox="1"/>
          <p:nvPr/>
        </p:nvSpPr>
        <p:spPr>
          <a:xfrm>
            <a:off x="2029767" y="15309850"/>
            <a:ext cx="9082405" cy="786754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5000" b="1" spc="15" dirty="0">
                <a:solidFill>
                  <a:schemeClr val="bg1"/>
                </a:solidFill>
                <a:latin typeface="Roobert ENEL" panose="00000500000000000000" pitchFamily="50" charset="0"/>
                <a:cs typeface="Arial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ndesax.com</a:t>
            </a:r>
            <a:endParaRPr sz="5000" dirty="0">
              <a:solidFill>
                <a:schemeClr val="bg1"/>
              </a:solidFill>
              <a:latin typeface="Roobert ENEL" panose="00000500000000000000" pitchFamily="50" charset="0"/>
              <a:cs typeface="Arial"/>
            </a:endParaRPr>
          </a:p>
        </p:txBody>
      </p:sp>
      <p:pic>
        <p:nvPicPr>
          <p:cNvPr id="14" name="object 3">
            <a:extLst>
              <a:ext uri="{FF2B5EF4-FFF2-40B4-BE49-F238E27FC236}">
                <a16:creationId xmlns:a16="http://schemas.microsoft.com/office/drawing/2014/main" id="{BA5C97F6-7736-4D14-BD85-451578FA2012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316287" y="16833850"/>
            <a:ext cx="438096" cy="838096"/>
          </a:xfrm>
          <a:prstGeom prst="rect">
            <a:avLst/>
          </a:prstGeom>
        </p:spPr>
      </p:pic>
      <p:pic>
        <p:nvPicPr>
          <p:cNvPr id="15" name="object 4">
            <a:extLst>
              <a:ext uri="{FF2B5EF4-FFF2-40B4-BE49-F238E27FC236}">
                <a16:creationId xmlns:a16="http://schemas.microsoft.com/office/drawing/2014/main" id="{A1EA94E1-D253-46D7-B5F0-15911BB63055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058568" y="16871514"/>
            <a:ext cx="838096" cy="780952"/>
          </a:xfrm>
          <a:prstGeom prst="rect">
            <a:avLst/>
          </a:prstGeom>
        </p:spPr>
      </p:pic>
      <p:sp>
        <p:nvSpPr>
          <p:cNvPr id="22" name="bg object 21">
            <a:extLst>
              <a:ext uri="{FF2B5EF4-FFF2-40B4-BE49-F238E27FC236}">
                <a16:creationId xmlns:a16="http://schemas.microsoft.com/office/drawing/2014/main" id="{2A6A9BAB-BF42-4A9A-B172-0ECB0390F2D1}"/>
              </a:ext>
            </a:extLst>
          </p:cNvPr>
          <p:cNvSpPr/>
          <p:nvPr/>
        </p:nvSpPr>
        <p:spPr>
          <a:xfrm>
            <a:off x="2058568" y="1875054"/>
            <a:ext cx="6922134" cy="1153160"/>
          </a:xfrm>
          <a:custGeom>
            <a:avLst/>
            <a:gdLst/>
            <a:ahLst/>
            <a:cxnLst/>
            <a:rect l="l" t="t" r="r" b="b"/>
            <a:pathLst>
              <a:path w="6922134" h="1153160">
                <a:moveTo>
                  <a:pt x="845985" y="631863"/>
                </a:moveTo>
                <a:lnTo>
                  <a:pt x="835507" y="586574"/>
                </a:lnTo>
                <a:lnTo>
                  <a:pt x="820331" y="543280"/>
                </a:lnTo>
                <a:lnTo>
                  <a:pt x="800735" y="502259"/>
                </a:lnTo>
                <a:lnTo>
                  <a:pt x="777024" y="463778"/>
                </a:lnTo>
                <a:lnTo>
                  <a:pt x="749465" y="428155"/>
                </a:lnTo>
                <a:lnTo>
                  <a:pt x="718375" y="395655"/>
                </a:lnTo>
                <a:lnTo>
                  <a:pt x="684022" y="366560"/>
                </a:lnTo>
                <a:lnTo>
                  <a:pt x="646696" y="341172"/>
                </a:lnTo>
                <a:lnTo>
                  <a:pt x="606704" y="319747"/>
                </a:lnTo>
                <a:lnTo>
                  <a:pt x="564311" y="302590"/>
                </a:lnTo>
                <a:lnTo>
                  <a:pt x="519823" y="289991"/>
                </a:lnTo>
                <a:lnTo>
                  <a:pt x="473532" y="282219"/>
                </a:lnTo>
                <a:lnTo>
                  <a:pt x="425716" y="279565"/>
                </a:lnTo>
                <a:lnTo>
                  <a:pt x="379336" y="282067"/>
                </a:lnTo>
                <a:lnTo>
                  <a:pt x="334391" y="289382"/>
                </a:lnTo>
                <a:lnTo>
                  <a:pt x="291160" y="301269"/>
                </a:lnTo>
                <a:lnTo>
                  <a:pt x="249897" y="317461"/>
                </a:lnTo>
                <a:lnTo>
                  <a:pt x="210858" y="337693"/>
                </a:lnTo>
                <a:lnTo>
                  <a:pt x="174294" y="361708"/>
                </a:lnTo>
                <a:lnTo>
                  <a:pt x="140487" y="389242"/>
                </a:lnTo>
                <a:lnTo>
                  <a:pt x="109677" y="420052"/>
                </a:lnTo>
                <a:lnTo>
                  <a:pt x="82143" y="453859"/>
                </a:lnTo>
                <a:lnTo>
                  <a:pt x="58127" y="490410"/>
                </a:lnTo>
                <a:lnTo>
                  <a:pt x="37896" y="529450"/>
                </a:lnTo>
                <a:lnTo>
                  <a:pt x="21704" y="570725"/>
                </a:lnTo>
                <a:lnTo>
                  <a:pt x="9817" y="613956"/>
                </a:lnTo>
                <a:lnTo>
                  <a:pt x="2501" y="658888"/>
                </a:lnTo>
                <a:lnTo>
                  <a:pt x="0" y="705281"/>
                </a:lnTo>
                <a:lnTo>
                  <a:pt x="2501" y="751662"/>
                </a:lnTo>
                <a:lnTo>
                  <a:pt x="9817" y="796607"/>
                </a:lnTo>
                <a:lnTo>
                  <a:pt x="21704" y="839838"/>
                </a:lnTo>
                <a:lnTo>
                  <a:pt x="37896" y="881100"/>
                </a:lnTo>
                <a:lnTo>
                  <a:pt x="58127" y="920153"/>
                </a:lnTo>
                <a:lnTo>
                  <a:pt x="82143" y="956703"/>
                </a:lnTo>
                <a:lnTo>
                  <a:pt x="109677" y="990511"/>
                </a:lnTo>
                <a:lnTo>
                  <a:pt x="140487" y="1021321"/>
                </a:lnTo>
                <a:lnTo>
                  <a:pt x="174294" y="1048854"/>
                </a:lnTo>
                <a:lnTo>
                  <a:pt x="210858" y="1072870"/>
                </a:lnTo>
                <a:lnTo>
                  <a:pt x="249897" y="1093101"/>
                </a:lnTo>
                <a:lnTo>
                  <a:pt x="291160" y="1109294"/>
                </a:lnTo>
                <a:lnTo>
                  <a:pt x="334391" y="1121181"/>
                </a:lnTo>
                <a:lnTo>
                  <a:pt x="379336" y="1128496"/>
                </a:lnTo>
                <a:lnTo>
                  <a:pt x="425716" y="1130998"/>
                </a:lnTo>
                <a:lnTo>
                  <a:pt x="476542" y="1127988"/>
                </a:lnTo>
                <a:lnTo>
                  <a:pt x="525589" y="1119212"/>
                </a:lnTo>
                <a:lnTo>
                  <a:pt x="572528" y="1105001"/>
                </a:lnTo>
                <a:lnTo>
                  <a:pt x="617004" y="1085697"/>
                </a:lnTo>
                <a:lnTo>
                  <a:pt x="658685" y="1061656"/>
                </a:lnTo>
                <a:lnTo>
                  <a:pt x="697217" y="1033208"/>
                </a:lnTo>
                <a:lnTo>
                  <a:pt x="732256" y="1000696"/>
                </a:lnTo>
                <a:lnTo>
                  <a:pt x="763473" y="964463"/>
                </a:lnTo>
                <a:lnTo>
                  <a:pt x="662673" y="887107"/>
                </a:lnTo>
                <a:lnTo>
                  <a:pt x="632866" y="920432"/>
                </a:lnTo>
                <a:lnTo>
                  <a:pt x="598424" y="948969"/>
                </a:lnTo>
                <a:lnTo>
                  <a:pt x="559917" y="972159"/>
                </a:lnTo>
                <a:lnTo>
                  <a:pt x="517918" y="989431"/>
                </a:lnTo>
                <a:lnTo>
                  <a:pt x="472998" y="1000213"/>
                </a:lnTo>
                <a:lnTo>
                  <a:pt x="425716" y="1003935"/>
                </a:lnTo>
                <a:lnTo>
                  <a:pt x="377266" y="1000023"/>
                </a:lnTo>
                <a:lnTo>
                  <a:pt x="331317" y="988707"/>
                </a:lnTo>
                <a:lnTo>
                  <a:pt x="288467" y="970597"/>
                </a:lnTo>
                <a:lnTo>
                  <a:pt x="249339" y="946315"/>
                </a:lnTo>
                <a:lnTo>
                  <a:pt x="214528" y="916457"/>
                </a:lnTo>
                <a:lnTo>
                  <a:pt x="184683" y="881659"/>
                </a:lnTo>
                <a:lnTo>
                  <a:pt x="160401" y="842530"/>
                </a:lnTo>
                <a:lnTo>
                  <a:pt x="142290" y="799680"/>
                </a:lnTo>
                <a:lnTo>
                  <a:pt x="130962" y="753719"/>
                </a:lnTo>
                <a:lnTo>
                  <a:pt x="127063" y="705281"/>
                </a:lnTo>
                <a:lnTo>
                  <a:pt x="130962" y="656831"/>
                </a:lnTo>
                <a:lnTo>
                  <a:pt x="142290" y="610882"/>
                </a:lnTo>
                <a:lnTo>
                  <a:pt x="160401" y="568032"/>
                </a:lnTo>
                <a:lnTo>
                  <a:pt x="184683" y="528891"/>
                </a:lnTo>
                <a:lnTo>
                  <a:pt x="214528" y="494093"/>
                </a:lnTo>
                <a:lnTo>
                  <a:pt x="249339" y="464235"/>
                </a:lnTo>
                <a:lnTo>
                  <a:pt x="288467" y="439953"/>
                </a:lnTo>
                <a:lnTo>
                  <a:pt x="331317" y="421843"/>
                </a:lnTo>
                <a:lnTo>
                  <a:pt x="377266" y="410527"/>
                </a:lnTo>
                <a:lnTo>
                  <a:pt x="425716" y="406615"/>
                </a:lnTo>
                <a:lnTo>
                  <a:pt x="476935" y="410984"/>
                </a:lnTo>
                <a:lnTo>
                  <a:pt x="525399" y="423608"/>
                </a:lnTo>
                <a:lnTo>
                  <a:pt x="570344" y="443750"/>
                </a:lnTo>
                <a:lnTo>
                  <a:pt x="611022" y="470687"/>
                </a:lnTo>
                <a:lnTo>
                  <a:pt x="646696" y="503707"/>
                </a:lnTo>
                <a:lnTo>
                  <a:pt x="676605" y="542048"/>
                </a:lnTo>
                <a:lnTo>
                  <a:pt x="699998" y="585012"/>
                </a:lnTo>
                <a:lnTo>
                  <a:pt x="716153" y="631863"/>
                </a:lnTo>
                <a:lnTo>
                  <a:pt x="401294" y="631863"/>
                </a:lnTo>
                <a:lnTo>
                  <a:pt x="401294" y="758913"/>
                </a:lnTo>
                <a:lnTo>
                  <a:pt x="845985" y="758913"/>
                </a:lnTo>
                <a:lnTo>
                  <a:pt x="845985" y="631863"/>
                </a:lnTo>
                <a:close/>
              </a:path>
              <a:path w="6922134" h="1153160">
                <a:moveTo>
                  <a:pt x="1736051" y="631583"/>
                </a:moveTo>
                <a:lnTo>
                  <a:pt x="1732813" y="583387"/>
                </a:lnTo>
                <a:lnTo>
                  <a:pt x="1723390" y="537298"/>
                </a:lnTo>
                <a:lnTo>
                  <a:pt x="1708213" y="493712"/>
                </a:lnTo>
                <a:lnTo>
                  <a:pt x="1687703" y="453021"/>
                </a:lnTo>
                <a:lnTo>
                  <a:pt x="1662290" y="415645"/>
                </a:lnTo>
                <a:lnTo>
                  <a:pt x="1632394" y="381952"/>
                </a:lnTo>
                <a:lnTo>
                  <a:pt x="1598460" y="352361"/>
                </a:lnTo>
                <a:lnTo>
                  <a:pt x="1560906" y="327253"/>
                </a:lnTo>
                <a:lnTo>
                  <a:pt x="1520151" y="307035"/>
                </a:lnTo>
                <a:lnTo>
                  <a:pt x="1476629" y="292112"/>
                </a:lnTo>
                <a:lnTo>
                  <a:pt x="1430769" y="282854"/>
                </a:lnTo>
                <a:lnTo>
                  <a:pt x="1382991" y="279692"/>
                </a:lnTo>
                <a:lnTo>
                  <a:pt x="1328674" y="283298"/>
                </a:lnTo>
                <a:lnTo>
                  <a:pt x="1276629" y="293827"/>
                </a:lnTo>
                <a:lnTo>
                  <a:pt x="1227315" y="310794"/>
                </a:lnTo>
                <a:lnTo>
                  <a:pt x="1181163" y="333730"/>
                </a:lnTo>
                <a:lnTo>
                  <a:pt x="1138605" y="362191"/>
                </a:lnTo>
                <a:lnTo>
                  <a:pt x="1100086" y="395693"/>
                </a:lnTo>
                <a:lnTo>
                  <a:pt x="1100086" y="314223"/>
                </a:lnTo>
                <a:lnTo>
                  <a:pt x="973035" y="314223"/>
                </a:lnTo>
                <a:lnTo>
                  <a:pt x="973035" y="758913"/>
                </a:lnTo>
                <a:lnTo>
                  <a:pt x="1100086" y="758913"/>
                </a:lnTo>
                <a:lnTo>
                  <a:pt x="1100086" y="653681"/>
                </a:lnTo>
                <a:lnTo>
                  <a:pt x="1109129" y="618350"/>
                </a:lnTo>
                <a:lnTo>
                  <a:pt x="1123543" y="581380"/>
                </a:lnTo>
                <a:lnTo>
                  <a:pt x="1143419" y="544322"/>
                </a:lnTo>
                <a:lnTo>
                  <a:pt x="1168869" y="508723"/>
                </a:lnTo>
                <a:lnTo>
                  <a:pt x="1199972" y="476135"/>
                </a:lnTo>
                <a:lnTo>
                  <a:pt x="1236827" y="448094"/>
                </a:lnTo>
                <a:lnTo>
                  <a:pt x="1279537" y="426161"/>
                </a:lnTo>
                <a:lnTo>
                  <a:pt x="1328191" y="411861"/>
                </a:lnTo>
                <a:lnTo>
                  <a:pt x="1382877" y="406742"/>
                </a:lnTo>
                <a:lnTo>
                  <a:pt x="1428254" y="411200"/>
                </a:lnTo>
                <a:lnTo>
                  <a:pt x="1470596" y="424053"/>
                </a:lnTo>
                <a:lnTo>
                  <a:pt x="1509001" y="444461"/>
                </a:lnTo>
                <a:lnTo>
                  <a:pt x="1542503" y="471627"/>
                </a:lnTo>
                <a:lnTo>
                  <a:pt x="1570189" y="504736"/>
                </a:lnTo>
                <a:lnTo>
                  <a:pt x="1591119" y="542963"/>
                </a:lnTo>
                <a:lnTo>
                  <a:pt x="1604365" y="585520"/>
                </a:lnTo>
                <a:lnTo>
                  <a:pt x="1608988" y="631583"/>
                </a:lnTo>
                <a:lnTo>
                  <a:pt x="1608988" y="1118082"/>
                </a:lnTo>
                <a:lnTo>
                  <a:pt x="1736051" y="1118082"/>
                </a:lnTo>
                <a:lnTo>
                  <a:pt x="1736051" y="631583"/>
                </a:lnTo>
                <a:close/>
              </a:path>
              <a:path w="6922134" h="1153160">
                <a:moveTo>
                  <a:pt x="2712847" y="0"/>
                </a:moveTo>
                <a:lnTo>
                  <a:pt x="2585796" y="0"/>
                </a:lnTo>
                <a:lnTo>
                  <a:pt x="2585796" y="400329"/>
                </a:lnTo>
                <a:lnTo>
                  <a:pt x="2551265" y="370116"/>
                </a:lnTo>
                <a:lnTo>
                  <a:pt x="2513584" y="343712"/>
                </a:lnTo>
                <a:lnTo>
                  <a:pt x="2473083" y="321437"/>
                </a:lnTo>
                <a:lnTo>
                  <a:pt x="2430056" y="303568"/>
                </a:lnTo>
                <a:lnTo>
                  <a:pt x="2384806" y="290436"/>
                </a:lnTo>
                <a:lnTo>
                  <a:pt x="2337625" y="282333"/>
                </a:lnTo>
                <a:lnTo>
                  <a:pt x="2288819" y="279565"/>
                </a:lnTo>
                <a:lnTo>
                  <a:pt x="2242439" y="282054"/>
                </a:lnTo>
                <a:lnTo>
                  <a:pt x="2197493" y="289382"/>
                </a:lnTo>
                <a:lnTo>
                  <a:pt x="2154263" y="301269"/>
                </a:lnTo>
                <a:lnTo>
                  <a:pt x="2113000" y="317449"/>
                </a:lnTo>
                <a:lnTo>
                  <a:pt x="2073960" y="337680"/>
                </a:lnTo>
                <a:lnTo>
                  <a:pt x="2037397" y="361696"/>
                </a:lnTo>
                <a:lnTo>
                  <a:pt x="2003590" y="389242"/>
                </a:lnTo>
                <a:lnTo>
                  <a:pt x="1972779" y="420039"/>
                </a:lnTo>
                <a:lnTo>
                  <a:pt x="1945246" y="453859"/>
                </a:lnTo>
                <a:lnTo>
                  <a:pt x="1921230" y="490410"/>
                </a:lnTo>
                <a:lnTo>
                  <a:pt x="1900986" y="529450"/>
                </a:lnTo>
                <a:lnTo>
                  <a:pt x="1884807" y="570712"/>
                </a:lnTo>
                <a:lnTo>
                  <a:pt x="1872919" y="613943"/>
                </a:lnTo>
                <a:lnTo>
                  <a:pt x="1865591" y="658888"/>
                </a:lnTo>
                <a:lnTo>
                  <a:pt x="1863102" y="705281"/>
                </a:lnTo>
                <a:lnTo>
                  <a:pt x="1865591" y="751662"/>
                </a:lnTo>
                <a:lnTo>
                  <a:pt x="1872919" y="796607"/>
                </a:lnTo>
                <a:lnTo>
                  <a:pt x="1884807" y="839838"/>
                </a:lnTo>
                <a:lnTo>
                  <a:pt x="1900986" y="881100"/>
                </a:lnTo>
                <a:lnTo>
                  <a:pt x="1921230" y="920140"/>
                </a:lnTo>
                <a:lnTo>
                  <a:pt x="1945246" y="956703"/>
                </a:lnTo>
                <a:lnTo>
                  <a:pt x="1972779" y="990511"/>
                </a:lnTo>
                <a:lnTo>
                  <a:pt x="2003590" y="1021308"/>
                </a:lnTo>
                <a:lnTo>
                  <a:pt x="2037397" y="1048854"/>
                </a:lnTo>
                <a:lnTo>
                  <a:pt x="2073960" y="1072870"/>
                </a:lnTo>
                <a:lnTo>
                  <a:pt x="2113000" y="1093101"/>
                </a:lnTo>
                <a:lnTo>
                  <a:pt x="2154263" y="1109281"/>
                </a:lnTo>
                <a:lnTo>
                  <a:pt x="2197493" y="1121168"/>
                </a:lnTo>
                <a:lnTo>
                  <a:pt x="2242439" y="1128496"/>
                </a:lnTo>
                <a:lnTo>
                  <a:pt x="2288819" y="1130985"/>
                </a:lnTo>
                <a:lnTo>
                  <a:pt x="2340622" y="1127874"/>
                </a:lnTo>
                <a:lnTo>
                  <a:pt x="2390571" y="1118755"/>
                </a:lnTo>
                <a:lnTo>
                  <a:pt x="2438311" y="1103998"/>
                </a:lnTo>
                <a:lnTo>
                  <a:pt x="2483472" y="1083983"/>
                </a:lnTo>
                <a:lnTo>
                  <a:pt x="2525699" y="1059053"/>
                </a:lnTo>
                <a:lnTo>
                  <a:pt x="2454999" y="953465"/>
                </a:lnTo>
                <a:lnTo>
                  <a:pt x="2417648" y="974801"/>
                </a:lnTo>
                <a:lnTo>
                  <a:pt x="2377160" y="990663"/>
                </a:lnTo>
                <a:lnTo>
                  <a:pt x="2334056" y="1000544"/>
                </a:lnTo>
                <a:lnTo>
                  <a:pt x="2288819" y="1003947"/>
                </a:lnTo>
                <a:lnTo>
                  <a:pt x="2240381" y="1000036"/>
                </a:lnTo>
                <a:lnTo>
                  <a:pt x="2194420" y="988720"/>
                </a:lnTo>
                <a:lnTo>
                  <a:pt x="2151570" y="970610"/>
                </a:lnTo>
                <a:lnTo>
                  <a:pt x="2112429" y="946315"/>
                </a:lnTo>
                <a:lnTo>
                  <a:pt x="2077631" y="916470"/>
                </a:lnTo>
                <a:lnTo>
                  <a:pt x="2047786" y="881672"/>
                </a:lnTo>
                <a:lnTo>
                  <a:pt x="2023491" y="842530"/>
                </a:lnTo>
                <a:lnTo>
                  <a:pt x="2005380" y="799680"/>
                </a:lnTo>
                <a:lnTo>
                  <a:pt x="1994065" y="753719"/>
                </a:lnTo>
                <a:lnTo>
                  <a:pt x="1990153" y="705281"/>
                </a:lnTo>
                <a:lnTo>
                  <a:pt x="1994065" y="656831"/>
                </a:lnTo>
                <a:lnTo>
                  <a:pt x="2005380" y="610882"/>
                </a:lnTo>
                <a:lnTo>
                  <a:pt x="2023491" y="568020"/>
                </a:lnTo>
                <a:lnTo>
                  <a:pt x="2047786" y="528891"/>
                </a:lnTo>
                <a:lnTo>
                  <a:pt x="2077631" y="494093"/>
                </a:lnTo>
                <a:lnTo>
                  <a:pt x="2112429" y="464248"/>
                </a:lnTo>
                <a:lnTo>
                  <a:pt x="2151570" y="439953"/>
                </a:lnTo>
                <a:lnTo>
                  <a:pt x="2194420" y="421843"/>
                </a:lnTo>
                <a:lnTo>
                  <a:pt x="2240381" y="410527"/>
                </a:lnTo>
                <a:lnTo>
                  <a:pt x="2288819" y="406615"/>
                </a:lnTo>
                <a:lnTo>
                  <a:pt x="2339111" y="410832"/>
                </a:lnTo>
                <a:lnTo>
                  <a:pt x="2386685" y="423024"/>
                </a:lnTo>
                <a:lnTo>
                  <a:pt x="2430856" y="442493"/>
                </a:lnTo>
                <a:lnTo>
                  <a:pt x="2470937" y="468553"/>
                </a:lnTo>
                <a:lnTo>
                  <a:pt x="2506230" y="500519"/>
                </a:lnTo>
                <a:lnTo>
                  <a:pt x="2536050" y="537692"/>
                </a:lnTo>
                <a:lnTo>
                  <a:pt x="2559710" y="579386"/>
                </a:lnTo>
                <a:lnTo>
                  <a:pt x="2576525" y="624928"/>
                </a:lnTo>
                <a:lnTo>
                  <a:pt x="2585796" y="673608"/>
                </a:lnTo>
                <a:lnTo>
                  <a:pt x="2585796" y="1118069"/>
                </a:lnTo>
                <a:lnTo>
                  <a:pt x="2712847" y="1118069"/>
                </a:lnTo>
                <a:lnTo>
                  <a:pt x="2712847" y="0"/>
                </a:lnTo>
                <a:close/>
              </a:path>
              <a:path w="6922134" h="1153160">
                <a:moveTo>
                  <a:pt x="3685883" y="631863"/>
                </a:moveTo>
                <a:lnTo>
                  <a:pt x="3675418" y="586574"/>
                </a:lnTo>
                <a:lnTo>
                  <a:pt x="3660229" y="543280"/>
                </a:lnTo>
                <a:lnTo>
                  <a:pt x="3640645" y="502259"/>
                </a:lnTo>
                <a:lnTo>
                  <a:pt x="3616922" y="463778"/>
                </a:lnTo>
                <a:lnTo>
                  <a:pt x="3589375" y="428155"/>
                </a:lnTo>
                <a:lnTo>
                  <a:pt x="3558273" y="395655"/>
                </a:lnTo>
                <a:lnTo>
                  <a:pt x="3523919" y="366560"/>
                </a:lnTo>
                <a:lnTo>
                  <a:pt x="3486607" y="341172"/>
                </a:lnTo>
                <a:lnTo>
                  <a:pt x="3446602" y="319747"/>
                </a:lnTo>
                <a:lnTo>
                  <a:pt x="3404222" y="302590"/>
                </a:lnTo>
                <a:lnTo>
                  <a:pt x="3359734" y="289991"/>
                </a:lnTo>
                <a:lnTo>
                  <a:pt x="3313442" y="282219"/>
                </a:lnTo>
                <a:lnTo>
                  <a:pt x="3265627" y="279565"/>
                </a:lnTo>
                <a:lnTo>
                  <a:pt x="3219234" y="282067"/>
                </a:lnTo>
                <a:lnTo>
                  <a:pt x="3174301" y="289382"/>
                </a:lnTo>
                <a:lnTo>
                  <a:pt x="3131058" y="301269"/>
                </a:lnTo>
                <a:lnTo>
                  <a:pt x="3089795" y="317461"/>
                </a:lnTo>
                <a:lnTo>
                  <a:pt x="3050756" y="337693"/>
                </a:lnTo>
                <a:lnTo>
                  <a:pt x="3014205" y="361708"/>
                </a:lnTo>
                <a:lnTo>
                  <a:pt x="2980385" y="389242"/>
                </a:lnTo>
                <a:lnTo>
                  <a:pt x="2949587" y="420052"/>
                </a:lnTo>
                <a:lnTo>
                  <a:pt x="2922041" y="453859"/>
                </a:lnTo>
                <a:lnTo>
                  <a:pt x="2898025" y="490410"/>
                </a:lnTo>
                <a:lnTo>
                  <a:pt x="2877794" y="529450"/>
                </a:lnTo>
                <a:lnTo>
                  <a:pt x="2861614" y="570725"/>
                </a:lnTo>
                <a:lnTo>
                  <a:pt x="2849727" y="613956"/>
                </a:lnTo>
                <a:lnTo>
                  <a:pt x="2842399" y="658888"/>
                </a:lnTo>
                <a:lnTo>
                  <a:pt x="2839910" y="705281"/>
                </a:lnTo>
                <a:lnTo>
                  <a:pt x="2842399" y="751662"/>
                </a:lnTo>
                <a:lnTo>
                  <a:pt x="2849727" y="796607"/>
                </a:lnTo>
                <a:lnTo>
                  <a:pt x="2861614" y="839838"/>
                </a:lnTo>
                <a:lnTo>
                  <a:pt x="2877794" y="881100"/>
                </a:lnTo>
                <a:lnTo>
                  <a:pt x="2898025" y="920153"/>
                </a:lnTo>
                <a:lnTo>
                  <a:pt x="2922041" y="956703"/>
                </a:lnTo>
                <a:lnTo>
                  <a:pt x="2949587" y="990511"/>
                </a:lnTo>
                <a:lnTo>
                  <a:pt x="2980385" y="1021321"/>
                </a:lnTo>
                <a:lnTo>
                  <a:pt x="3014205" y="1048854"/>
                </a:lnTo>
                <a:lnTo>
                  <a:pt x="3050756" y="1072870"/>
                </a:lnTo>
                <a:lnTo>
                  <a:pt x="3089795" y="1093101"/>
                </a:lnTo>
                <a:lnTo>
                  <a:pt x="3131058" y="1109294"/>
                </a:lnTo>
                <a:lnTo>
                  <a:pt x="3174301" y="1121181"/>
                </a:lnTo>
                <a:lnTo>
                  <a:pt x="3219234" y="1128496"/>
                </a:lnTo>
                <a:lnTo>
                  <a:pt x="3265627" y="1130998"/>
                </a:lnTo>
                <a:lnTo>
                  <a:pt x="3316440" y="1127988"/>
                </a:lnTo>
                <a:lnTo>
                  <a:pt x="3365500" y="1119212"/>
                </a:lnTo>
                <a:lnTo>
                  <a:pt x="3412426" y="1105001"/>
                </a:lnTo>
                <a:lnTo>
                  <a:pt x="3456902" y="1085697"/>
                </a:lnTo>
                <a:lnTo>
                  <a:pt x="3498583" y="1061656"/>
                </a:lnTo>
                <a:lnTo>
                  <a:pt x="3537115" y="1033208"/>
                </a:lnTo>
                <a:lnTo>
                  <a:pt x="3572167" y="1000696"/>
                </a:lnTo>
                <a:lnTo>
                  <a:pt x="3603383" y="964463"/>
                </a:lnTo>
                <a:lnTo>
                  <a:pt x="3502583" y="887107"/>
                </a:lnTo>
                <a:lnTo>
                  <a:pt x="3472764" y="920432"/>
                </a:lnTo>
                <a:lnTo>
                  <a:pt x="3438321" y="948969"/>
                </a:lnTo>
                <a:lnTo>
                  <a:pt x="3399815" y="972159"/>
                </a:lnTo>
                <a:lnTo>
                  <a:pt x="3357816" y="989431"/>
                </a:lnTo>
                <a:lnTo>
                  <a:pt x="3312896" y="1000213"/>
                </a:lnTo>
                <a:lnTo>
                  <a:pt x="3265627" y="1003935"/>
                </a:lnTo>
                <a:lnTo>
                  <a:pt x="3217176" y="1000023"/>
                </a:lnTo>
                <a:lnTo>
                  <a:pt x="3171228" y="988707"/>
                </a:lnTo>
                <a:lnTo>
                  <a:pt x="3128365" y="970597"/>
                </a:lnTo>
                <a:lnTo>
                  <a:pt x="3089237" y="946315"/>
                </a:lnTo>
                <a:lnTo>
                  <a:pt x="3054439" y="916457"/>
                </a:lnTo>
                <a:lnTo>
                  <a:pt x="3024581" y="881659"/>
                </a:lnTo>
                <a:lnTo>
                  <a:pt x="3000298" y="842530"/>
                </a:lnTo>
                <a:lnTo>
                  <a:pt x="2982176" y="799680"/>
                </a:lnTo>
                <a:lnTo>
                  <a:pt x="2970860" y="753719"/>
                </a:lnTo>
                <a:lnTo>
                  <a:pt x="2966961" y="705281"/>
                </a:lnTo>
                <a:lnTo>
                  <a:pt x="2970860" y="656831"/>
                </a:lnTo>
                <a:lnTo>
                  <a:pt x="2982176" y="610882"/>
                </a:lnTo>
                <a:lnTo>
                  <a:pt x="3000298" y="568032"/>
                </a:lnTo>
                <a:lnTo>
                  <a:pt x="3024581" y="528891"/>
                </a:lnTo>
                <a:lnTo>
                  <a:pt x="3054439" y="494093"/>
                </a:lnTo>
                <a:lnTo>
                  <a:pt x="3089237" y="464235"/>
                </a:lnTo>
                <a:lnTo>
                  <a:pt x="3128365" y="439953"/>
                </a:lnTo>
                <a:lnTo>
                  <a:pt x="3171228" y="421843"/>
                </a:lnTo>
                <a:lnTo>
                  <a:pt x="3217176" y="410527"/>
                </a:lnTo>
                <a:lnTo>
                  <a:pt x="3265627" y="406615"/>
                </a:lnTo>
                <a:lnTo>
                  <a:pt x="3316846" y="410984"/>
                </a:lnTo>
                <a:lnTo>
                  <a:pt x="3365296" y="423608"/>
                </a:lnTo>
                <a:lnTo>
                  <a:pt x="3410242" y="443750"/>
                </a:lnTo>
                <a:lnTo>
                  <a:pt x="3450920" y="470687"/>
                </a:lnTo>
                <a:lnTo>
                  <a:pt x="3486594" y="503707"/>
                </a:lnTo>
                <a:lnTo>
                  <a:pt x="3516503" y="542048"/>
                </a:lnTo>
                <a:lnTo>
                  <a:pt x="3539896" y="585012"/>
                </a:lnTo>
                <a:lnTo>
                  <a:pt x="3556050" y="631863"/>
                </a:lnTo>
                <a:lnTo>
                  <a:pt x="3241192" y="631863"/>
                </a:lnTo>
                <a:lnTo>
                  <a:pt x="3241192" y="758913"/>
                </a:lnTo>
                <a:lnTo>
                  <a:pt x="3685883" y="758913"/>
                </a:lnTo>
                <a:lnTo>
                  <a:pt x="3685883" y="631863"/>
                </a:lnTo>
                <a:close/>
              </a:path>
              <a:path w="6922134" h="1153160">
                <a:moveTo>
                  <a:pt x="4434929" y="820381"/>
                </a:moveTo>
                <a:lnTo>
                  <a:pt x="4432147" y="770496"/>
                </a:lnTo>
                <a:lnTo>
                  <a:pt x="3939159" y="565873"/>
                </a:lnTo>
                <a:lnTo>
                  <a:pt x="3950297" y="528053"/>
                </a:lnTo>
                <a:lnTo>
                  <a:pt x="3970921" y="491274"/>
                </a:lnTo>
                <a:lnTo>
                  <a:pt x="3999484" y="458139"/>
                </a:lnTo>
                <a:lnTo>
                  <a:pt x="4034472" y="431253"/>
                </a:lnTo>
                <a:lnTo>
                  <a:pt x="4074376" y="413207"/>
                </a:lnTo>
                <a:lnTo>
                  <a:pt x="4117657" y="406615"/>
                </a:lnTo>
                <a:lnTo>
                  <a:pt x="4216603" y="429564"/>
                </a:lnTo>
                <a:lnTo>
                  <a:pt x="4271696" y="480047"/>
                </a:lnTo>
                <a:lnTo>
                  <a:pt x="4295533" y="530542"/>
                </a:lnTo>
                <a:lnTo>
                  <a:pt x="4300690" y="553478"/>
                </a:lnTo>
                <a:lnTo>
                  <a:pt x="4427867" y="521970"/>
                </a:lnTo>
                <a:lnTo>
                  <a:pt x="4399178" y="381825"/>
                </a:lnTo>
                <a:lnTo>
                  <a:pt x="4357052" y="309867"/>
                </a:lnTo>
                <a:lnTo>
                  <a:pt x="4272216" y="283349"/>
                </a:lnTo>
                <a:lnTo>
                  <a:pt x="4115346" y="279565"/>
                </a:lnTo>
                <a:lnTo>
                  <a:pt x="4062971" y="284022"/>
                </a:lnTo>
                <a:lnTo>
                  <a:pt x="4014508" y="296722"/>
                </a:lnTo>
                <a:lnTo>
                  <a:pt x="3970337" y="316699"/>
                </a:lnTo>
                <a:lnTo>
                  <a:pt x="3930827" y="342988"/>
                </a:lnTo>
                <a:lnTo>
                  <a:pt x="3896372" y="374611"/>
                </a:lnTo>
                <a:lnTo>
                  <a:pt x="3867340" y="410591"/>
                </a:lnTo>
                <a:lnTo>
                  <a:pt x="3844112" y="449961"/>
                </a:lnTo>
                <a:lnTo>
                  <a:pt x="3827043" y="491744"/>
                </a:lnTo>
                <a:lnTo>
                  <a:pt x="3816527" y="534974"/>
                </a:lnTo>
                <a:lnTo>
                  <a:pt x="3812946" y="578662"/>
                </a:lnTo>
                <a:lnTo>
                  <a:pt x="3813429" y="605129"/>
                </a:lnTo>
                <a:lnTo>
                  <a:pt x="3814483" y="630047"/>
                </a:lnTo>
                <a:lnTo>
                  <a:pt x="3816019" y="655802"/>
                </a:lnTo>
                <a:lnTo>
                  <a:pt x="4312196" y="839241"/>
                </a:lnTo>
                <a:lnTo>
                  <a:pt x="4305287" y="883462"/>
                </a:lnTo>
                <a:lnTo>
                  <a:pt x="4285843" y="922921"/>
                </a:lnTo>
                <a:lnTo>
                  <a:pt x="4255808" y="956170"/>
                </a:lnTo>
                <a:lnTo>
                  <a:pt x="4217162" y="981735"/>
                </a:lnTo>
                <a:lnTo>
                  <a:pt x="4171835" y="998143"/>
                </a:lnTo>
                <a:lnTo>
                  <a:pt x="4121772" y="1003935"/>
                </a:lnTo>
                <a:lnTo>
                  <a:pt x="4025646" y="979932"/>
                </a:lnTo>
                <a:lnTo>
                  <a:pt x="3970921" y="927112"/>
                </a:lnTo>
                <a:lnTo>
                  <a:pt x="3946334" y="874293"/>
                </a:lnTo>
                <a:lnTo>
                  <a:pt x="3940645" y="850277"/>
                </a:lnTo>
                <a:lnTo>
                  <a:pt x="3814965" y="883793"/>
                </a:lnTo>
                <a:lnTo>
                  <a:pt x="3844975" y="1026706"/>
                </a:lnTo>
                <a:lnTo>
                  <a:pt x="3887178" y="1100099"/>
                </a:lnTo>
                <a:lnTo>
                  <a:pt x="3970553" y="1127137"/>
                </a:lnTo>
                <a:lnTo>
                  <a:pt x="4124083" y="1130998"/>
                </a:lnTo>
                <a:lnTo>
                  <a:pt x="4175087" y="1127201"/>
                </a:lnTo>
                <a:lnTo>
                  <a:pt x="4222077" y="1116291"/>
                </a:lnTo>
                <a:lnTo>
                  <a:pt x="4264863" y="1099032"/>
                </a:lnTo>
                <a:lnTo>
                  <a:pt x="4303280" y="1076134"/>
                </a:lnTo>
                <a:lnTo>
                  <a:pt x="4337151" y="1048359"/>
                </a:lnTo>
                <a:lnTo>
                  <a:pt x="4366285" y="1016431"/>
                </a:lnTo>
                <a:lnTo>
                  <a:pt x="4390529" y="981087"/>
                </a:lnTo>
                <a:lnTo>
                  <a:pt x="4409694" y="943076"/>
                </a:lnTo>
                <a:lnTo>
                  <a:pt x="4423600" y="903122"/>
                </a:lnTo>
                <a:lnTo>
                  <a:pt x="4432071" y="861974"/>
                </a:lnTo>
                <a:lnTo>
                  <a:pt x="4434929" y="820381"/>
                </a:lnTo>
                <a:close/>
              </a:path>
              <a:path w="6922134" h="1153160">
                <a:moveTo>
                  <a:pt x="5404561" y="298259"/>
                </a:moveTo>
                <a:lnTo>
                  <a:pt x="5277497" y="298259"/>
                </a:lnTo>
                <a:lnTo>
                  <a:pt x="5277497" y="400329"/>
                </a:lnTo>
                <a:lnTo>
                  <a:pt x="5242966" y="370116"/>
                </a:lnTo>
                <a:lnTo>
                  <a:pt x="5205298" y="343712"/>
                </a:lnTo>
                <a:lnTo>
                  <a:pt x="5164798" y="321424"/>
                </a:lnTo>
                <a:lnTo>
                  <a:pt x="5121757" y="303568"/>
                </a:lnTo>
                <a:lnTo>
                  <a:pt x="5076507" y="290436"/>
                </a:lnTo>
                <a:lnTo>
                  <a:pt x="5029327" y="282321"/>
                </a:lnTo>
                <a:lnTo>
                  <a:pt x="4980521" y="279552"/>
                </a:lnTo>
                <a:lnTo>
                  <a:pt x="4934140" y="282054"/>
                </a:lnTo>
                <a:lnTo>
                  <a:pt x="4889195" y="289369"/>
                </a:lnTo>
                <a:lnTo>
                  <a:pt x="4845964" y="301256"/>
                </a:lnTo>
                <a:lnTo>
                  <a:pt x="4804689" y="317449"/>
                </a:lnTo>
                <a:lnTo>
                  <a:pt x="4765649" y="337680"/>
                </a:lnTo>
                <a:lnTo>
                  <a:pt x="4729099" y="361696"/>
                </a:lnTo>
                <a:lnTo>
                  <a:pt x="4695291" y="389242"/>
                </a:lnTo>
                <a:lnTo>
                  <a:pt x="4664481" y="420039"/>
                </a:lnTo>
                <a:lnTo>
                  <a:pt x="4636948" y="453847"/>
                </a:lnTo>
                <a:lnTo>
                  <a:pt x="4612932" y="490410"/>
                </a:lnTo>
                <a:lnTo>
                  <a:pt x="4592701" y="529450"/>
                </a:lnTo>
                <a:lnTo>
                  <a:pt x="4576508" y="570712"/>
                </a:lnTo>
                <a:lnTo>
                  <a:pt x="4564621" y="613956"/>
                </a:lnTo>
                <a:lnTo>
                  <a:pt x="4557306" y="658888"/>
                </a:lnTo>
                <a:lnTo>
                  <a:pt x="4554804" y="705281"/>
                </a:lnTo>
                <a:lnTo>
                  <a:pt x="4557306" y="751662"/>
                </a:lnTo>
                <a:lnTo>
                  <a:pt x="4564621" y="796607"/>
                </a:lnTo>
                <a:lnTo>
                  <a:pt x="4576508" y="839838"/>
                </a:lnTo>
                <a:lnTo>
                  <a:pt x="4592701" y="881100"/>
                </a:lnTo>
                <a:lnTo>
                  <a:pt x="4612932" y="920140"/>
                </a:lnTo>
                <a:lnTo>
                  <a:pt x="4636948" y="956703"/>
                </a:lnTo>
                <a:lnTo>
                  <a:pt x="4664481" y="990511"/>
                </a:lnTo>
                <a:lnTo>
                  <a:pt x="4695291" y="1021321"/>
                </a:lnTo>
                <a:lnTo>
                  <a:pt x="4729099" y="1048854"/>
                </a:lnTo>
                <a:lnTo>
                  <a:pt x="4765649" y="1072870"/>
                </a:lnTo>
                <a:lnTo>
                  <a:pt x="4804689" y="1093101"/>
                </a:lnTo>
                <a:lnTo>
                  <a:pt x="4845964" y="1109294"/>
                </a:lnTo>
                <a:lnTo>
                  <a:pt x="4889195" y="1121168"/>
                </a:lnTo>
                <a:lnTo>
                  <a:pt x="4934140" y="1128496"/>
                </a:lnTo>
                <a:lnTo>
                  <a:pt x="4980521" y="1130998"/>
                </a:lnTo>
                <a:lnTo>
                  <a:pt x="5032324" y="1127874"/>
                </a:lnTo>
                <a:lnTo>
                  <a:pt x="5082273" y="1118755"/>
                </a:lnTo>
                <a:lnTo>
                  <a:pt x="5130012" y="1104011"/>
                </a:lnTo>
                <a:lnTo>
                  <a:pt x="5175174" y="1083983"/>
                </a:lnTo>
                <a:lnTo>
                  <a:pt x="5217401" y="1059065"/>
                </a:lnTo>
                <a:lnTo>
                  <a:pt x="5146700" y="953477"/>
                </a:lnTo>
                <a:lnTo>
                  <a:pt x="5109349" y="974801"/>
                </a:lnTo>
                <a:lnTo>
                  <a:pt x="5068862" y="990663"/>
                </a:lnTo>
                <a:lnTo>
                  <a:pt x="5025758" y="1000544"/>
                </a:lnTo>
                <a:lnTo>
                  <a:pt x="4980521" y="1003947"/>
                </a:lnTo>
                <a:lnTo>
                  <a:pt x="4932083" y="1000036"/>
                </a:lnTo>
                <a:lnTo>
                  <a:pt x="4886122" y="988720"/>
                </a:lnTo>
                <a:lnTo>
                  <a:pt x="4843272" y="970610"/>
                </a:lnTo>
                <a:lnTo>
                  <a:pt x="4804143" y="946315"/>
                </a:lnTo>
                <a:lnTo>
                  <a:pt x="4769332" y="916470"/>
                </a:lnTo>
                <a:lnTo>
                  <a:pt x="4739487" y="881659"/>
                </a:lnTo>
                <a:lnTo>
                  <a:pt x="4715205" y="842530"/>
                </a:lnTo>
                <a:lnTo>
                  <a:pt x="4697095" y="799680"/>
                </a:lnTo>
                <a:lnTo>
                  <a:pt x="4685779" y="753719"/>
                </a:lnTo>
                <a:lnTo>
                  <a:pt x="4681867" y="705281"/>
                </a:lnTo>
                <a:lnTo>
                  <a:pt x="4685779" y="656831"/>
                </a:lnTo>
                <a:lnTo>
                  <a:pt x="4697095" y="610882"/>
                </a:lnTo>
                <a:lnTo>
                  <a:pt x="4715205" y="568032"/>
                </a:lnTo>
                <a:lnTo>
                  <a:pt x="4739487" y="528891"/>
                </a:lnTo>
                <a:lnTo>
                  <a:pt x="4769332" y="494093"/>
                </a:lnTo>
                <a:lnTo>
                  <a:pt x="4804143" y="464235"/>
                </a:lnTo>
                <a:lnTo>
                  <a:pt x="4843272" y="439953"/>
                </a:lnTo>
                <a:lnTo>
                  <a:pt x="4886122" y="421843"/>
                </a:lnTo>
                <a:lnTo>
                  <a:pt x="4932083" y="410527"/>
                </a:lnTo>
                <a:lnTo>
                  <a:pt x="4980521" y="406615"/>
                </a:lnTo>
                <a:lnTo>
                  <a:pt x="5030813" y="410832"/>
                </a:lnTo>
                <a:lnTo>
                  <a:pt x="5078387" y="423011"/>
                </a:lnTo>
                <a:lnTo>
                  <a:pt x="5122557" y="442480"/>
                </a:lnTo>
                <a:lnTo>
                  <a:pt x="5162626" y="468553"/>
                </a:lnTo>
                <a:lnTo>
                  <a:pt x="5197932" y="500507"/>
                </a:lnTo>
                <a:lnTo>
                  <a:pt x="5227752" y="537692"/>
                </a:lnTo>
                <a:lnTo>
                  <a:pt x="5251412" y="579386"/>
                </a:lnTo>
                <a:lnTo>
                  <a:pt x="5268226" y="624916"/>
                </a:lnTo>
                <a:lnTo>
                  <a:pt x="5277497" y="673595"/>
                </a:lnTo>
                <a:lnTo>
                  <a:pt x="5277497" y="1118082"/>
                </a:lnTo>
                <a:lnTo>
                  <a:pt x="5404561" y="1118082"/>
                </a:lnTo>
                <a:lnTo>
                  <a:pt x="5404561" y="298259"/>
                </a:lnTo>
                <a:close/>
              </a:path>
              <a:path w="6922134" h="1153160">
                <a:moveTo>
                  <a:pt x="6474777" y="838352"/>
                </a:moveTo>
                <a:lnTo>
                  <a:pt x="6384925" y="748499"/>
                </a:lnTo>
                <a:lnTo>
                  <a:pt x="6070676" y="1062748"/>
                </a:lnTo>
                <a:lnTo>
                  <a:pt x="6160528" y="1152601"/>
                </a:lnTo>
                <a:lnTo>
                  <a:pt x="6474777" y="838352"/>
                </a:lnTo>
                <a:close/>
              </a:path>
              <a:path w="6922134" h="1153160">
                <a:moveTo>
                  <a:pt x="6474777" y="615886"/>
                </a:moveTo>
                <a:lnTo>
                  <a:pt x="6160528" y="301637"/>
                </a:lnTo>
                <a:lnTo>
                  <a:pt x="6070676" y="391477"/>
                </a:lnTo>
                <a:lnTo>
                  <a:pt x="6384938" y="705726"/>
                </a:lnTo>
                <a:lnTo>
                  <a:pt x="6474777" y="615886"/>
                </a:lnTo>
                <a:close/>
              </a:path>
              <a:path w="6922134" h="1153160">
                <a:moveTo>
                  <a:pt x="6921640" y="1062748"/>
                </a:moveTo>
                <a:lnTo>
                  <a:pt x="6607391" y="748499"/>
                </a:lnTo>
                <a:lnTo>
                  <a:pt x="6517551" y="838352"/>
                </a:lnTo>
                <a:lnTo>
                  <a:pt x="6831800" y="1152601"/>
                </a:lnTo>
                <a:lnTo>
                  <a:pt x="6921640" y="1062748"/>
                </a:lnTo>
                <a:close/>
              </a:path>
              <a:path w="6922134" h="1153160">
                <a:moveTo>
                  <a:pt x="6921640" y="391477"/>
                </a:moveTo>
                <a:lnTo>
                  <a:pt x="6831800" y="301637"/>
                </a:lnTo>
                <a:lnTo>
                  <a:pt x="6517551" y="615886"/>
                </a:lnTo>
                <a:lnTo>
                  <a:pt x="6607391" y="705726"/>
                </a:lnTo>
                <a:lnTo>
                  <a:pt x="6921640" y="3914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3157F9B-0188-05A5-42B3-62ECDB4F135A}"/>
              </a:ext>
            </a:extLst>
          </p:cNvPr>
          <p:cNvSpPr txBox="1"/>
          <p:nvPr/>
        </p:nvSpPr>
        <p:spPr>
          <a:xfrm>
            <a:off x="2029767" y="13838476"/>
            <a:ext cx="1787652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5000" dirty="0">
                <a:solidFill>
                  <a:schemeClr val="bg1"/>
                </a:solidFill>
                <a:latin typeface="Roobert ENEL" panose="00000500000000000000" pitchFamily="50" charset="0"/>
              </a:rPr>
              <a:t>jorge.bistue@enel.com</a:t>
            </a:r>
            <a:endParaRPr lang="en-US" sz="5000" dirty="0">
              <a:solidFill>
                <a:schemeClr val="bg1"/>
              </a:solidFill>
              <a:latin typeface="Roobert ENEL" panose="000005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2892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C277A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Tema di Office">
  <a:themeElements>
    <a:clrScheme name="ENEL_X_COLOR_PALETTE">
      <a:dk1>
        <a:srgbClr val="000000"/>
      </a:dk1>
      <a:lt1>
        <a:srgbClr val="FFFFFF"/>
      </a:lt1>
      <a:dk2>
        <a:srgbClr val="461E7D"/>
      </a:dk2>
      <a:lt2>
        <a:srgbClr val="FFFFFF"/>
      </a:lt2>
      <a:accent1>
        <a:srgbClr val="5738FF"/>
      </a:accent1>
      <a:accent2>
        <a:srgbClr val="FF006E"/>
      </a:accent2>
      <a:accent3>
        <a:srgbClr val="FD6600"/>
      </a:accent3>
      <a:accent4>
        <a:srgbClr val="2CFEF9"/>
      </a:accent4>
      <a:accent5>
        <a:srgbClr val="2AFD95"/>
      </a:accent5>
      <a:accent6>
        <a:srgbClr val="FEF367"/>
      </a:accent6>
      <a:hlink>
        <a:srgbClr val="461E7D"/>
      </a:hlink>
      <a:folHlink>
        <a:srgbClr val="5738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elX_template_ARIAL_DEF" id="{218D3EB7-0AE3-7649-A49E-FDDCB9CF2D76}" vid="{07B64568-2F78-334C-B9E8-7F32E0718E58}"/>
    </a:ext>
  </a:extLst>
</a:theme>
</file>

<file path=ppt/theme/theme3.xml><?xml version="1.0" encoding="utf-8"?>
<a:theme xmlns:a="http://schemas.openxmlformats.org/drawingml/2006/main" name="Tema di Office">
  <a:themeElements>
    <a:clrScheme name="ENEL_X_COLOR_PALETTE">
      <a:dk1>
        <a:srgbClr val="000000"/>
      </a:dk1>
      <a:lt1>
        <a:srgbClr val="FFFFFF"/>
      </a:lt1>
      <a:dk2>
        <a:srgbClr val="461E7D"/>
      </a:dk2>
      <a:lt2>
        <a:srgbClr val="FFFFFF"/>
      </a:lt2>
      <a:accent1>
        <a:srgbClr val="5738FF"/>
      </a:accent1>
      <a:accent2>
        <a:srgbClr val="FF006E"/>
      </a:accent2>
      <a:accent3>
        <a:srgbClr val="FD6600"/>
      </a:accent3>
      <a:accent4>
        <a:srgbClr val="2CFEF9"/>
      </a:accent4>
      <a:accent5>
        <a:srgbClr val="2AFD95"/>
      </a:accent5>
      <a:accent6>
        <a:srgbClr val="FEF367"/>
      </a:accent6>
      <a:hlink>
        <a:srgbClr val="461E7D"/>
      </a:hlink>
      <a:folHlink>
        <a:srgbClr val="5738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elX_template_ARIAL_DEF" id="{218D3EB7-0AE3-7649-A49E-FDDCB9CF2D76}" vid="{07B64568-2F78-334C-B9E8-7F32E0718E58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C277A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NEL_X_COLOR_PALETTE">
    <a:dk1>
      <a:srgbClr val="000000"/>
    </a:dk1>
    <a:lt1>
      <a:srgbClr val="FFFFFF"/>
    </a:lt1>
    <a:dk2>
      <a:srgbClr val="461E7D"/>
    </a:dk2>
    <a:lt2>
      <a:srgbClr val="FFFFFF"/>
    </a:lt2>
    <a:accent1>
      <a:srgbClr val="5738FF"/>
    </a:accent1>
    <a:accent2>
      <a:srgbClr val="FF006E"/>
    </a:accent2>
    <a:accent3>
      <a:srgbClr val="FD6600"/>
    </a:accent3>
    <a:accent4>
      <a:srgbClr val="2CFEF9"/>
    </a:accent4>
    <a:accent5>
      <a:srgbClr val="2AFD95"/>
    </a:accent5>
    <a:accent6>
      <a:srgbClr val="FEF367"/>
    </a:accent6>
    <a:hlink>
      <a:srgbClr val="461E7D"/>
    </a:hlink>
    <a:folHlink>
      <a:srgbClr val="5738FF"/>
    </a:folHlink>
  </a:clrScheme>
</a:themeOverride>
</file>

<file path=ppt/theme/themeOverride2.xml><?xml version="1.0" encoding="utf-8"?>
<a:themeOverride xmlns:a="http://schemas.openxmlformats.org/drawingml/2006/main">
  <a:clrScheme name="ENEL_X_COLOR_PALETTE">
    <a:dk1>
      <a:srgbClr val="000000"/>
    </a:dk1>
    <a:lt1>
      <a:srgbClr val="FFFFFF"/>
    </a:lt1>
    <a:dk2>
      <a:srgbClr val="461E7D"/>
    </a:dk2>
    <a:lt2>
      <a:srgbClr val="FFFFFF"/>
    </a:lt2>
    <a:accent1>
      <a:srgbClr val="5738FF"/>
    </a:accent1>
    <a:accent2>
      <a:srgbClr val="FF006E"/>
    </a:accent2>
    <a:accent3>
      <a:srgbClr val="FD6600"/>
    </a:accent3>
    <a:accent4>
      <a:srgbClr val="2CFEF9"/>
    </a:accent4>
    <a:accent5>
      <a:srgbClr val="2AFD95"/>
    </a:accent5>
    <a:accent6>
      <a:srgbClr val="FEF367"/>
    </a:accent6>
    <a:hlink>
      <a:srgbClr val="461E7D"/>
    </a:hlink>
    <a:folHlink>
      <a:srgbClr val="5738FF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4C277A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dc36dc2-b3d6-4975-85ff-cd8cf5e2163c" xsi:nil="true"/>
    <lcf76f155ced4ddcb4097134ff3c332f xmlns="793e4fd0-1785-4db8-b372-459536e7d1d2">
      <Terms xmlns="http://schemas.microsoft.com/office/infopath/2007/PartnerControls"/>
    </lcf76f155ced4ddcb4097134ff3c332f>
    <_dlc_DocId xmlns="6dc36dc2-b3d6-4975-85ff-cd8cf5e2163c">WEXPYEHVFRHD-748373445-39122</_dlc_DocId>
    <_dlc_DocIdUrl xmlns="6dc36dc2-b3d6-4975-85ff-cd8cf5e2163c">
      <Url>https://enelcom.sharepoint.com/sites/FSRE1010/Esp_Mktg_B2B_Ex/_layouts/15/DocIdRedir.aspx?ID=WEXPYEHVFRHD-748373445-39122</Url>
      <Description>WEXPYEHVFRHD-748373445-39122</Description>
    </_dlc_DocIdUrl>
    <SharedWithUsers xmlns="c8b2d8f8-ac6e-47dd-8644-62bac78b48b1">
      <UserInfo>
        <DisplayName>Arribas Castro, Victor Jose</DisplayName>
        <AccountId>10538</AccountId>
        <AccountType/>
      </UserInfo>
      <UserInfo>
        <DisplayName>Vega Cerquella, Alba</DisplayName>
        <AccountId>10066</AccountId>
        <AccountType/>
      </UserInfo>
      <UserInfo>
        <DisplayName>Bistue Guardiola, Jorge</DisplayName>
        <AccountId>459</AccountId>
        <AccountType/>
      </UserInfo>
      <UserInfo>
        <DisplayName>Varela Nuñez, Victor</DisplayName>
        <AccountId>332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E643B92C7A54AAEF620C522A7B360" ma:contentTypeVersion="193" ma:contentTypeDescription="Create a new document." ma:contentTypeScope="" ma:versionID="d432b917fe7a269faa03efcad5ce2106">
  <xsd:schema xmlns:xsd="http://www.w3.org/2001/XMLSchema" xmlns:xs="http://www.w3.org/2001/XMLSchema" xmlns:p="http://schemas.microsoft.com/office/2006/metadata/properties" xmlns:ns2="6dc36dc2-b3d6-4975-85ff-cd8cf5e2163c" xmlns:ns3="793e4fd0-1785-4db8-b372-459536e7d1d2" xmlns:ns4="c8b2d8f8-ac6e-47dd-8644-62bac78b48b1" targetNamespace="http://schemas.microsoft.com/office/2006/metadata/properties" ma:root="true" ma:fieldsID="140e208a60575c00dc61f0d0343cb94d" ns2:_="" ns3:_="" ns4:_="">
    <xsd:import namespace="6dc36dc2-b3d6-4975-85ff-cd8cf5e2163c"/>
    <xsd:import namespace="793e4fd0-1785-4db8-b372-459536e7d1d2"/>
    <xsd:import namespace="c8b2d8f8-ac6e-47dd-8644-62bac78b48b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36dc2-b3d6-4975-85ff-cd8cf5e2163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26" nillable="true" ma:displayName="Taxonomy Catch All Column" ma:hidden="true" ma:list="{be130ff8-3a0c-44e4-93f7-1e7f1ffe5610}" ma:internalName="TaxCatchAll" ma:showField="CatchAllData" ma:web="6dc36dc2-b3d6-4975-85ff-cd8cf5e216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3e4fd0-1785-4db8-b372-459536e7d1d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ba5ac2a7-3560-40f7-821c-bf6f1f0e003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b2d8f8-ac6e-47dd-8644-62bac78b48b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526D7B45-7D68-4314-9938-79C87CF5A092}">
  <ds:schemaRefs>
    <ds:schemaRef ds:uri="6dc36dc2-b3d6-4975-85ff-cd8cf5e2163c"/>
    <ds:schemaRef ds:uri="793e4fd0-1785-4db8-b372-459536e7d1d2"/>
    <ds:schemaRef ds:uri="http://schemas.microsoft.com/office/2006/metadata/properties"/>
    <ds:schemaRef ds:uri="http://schemas.microsoft.com/office/infopath/2007/PartnerControls"/>
    <ds:schemaRef ds:uri="c8b2d8f8-ac6e-47dd-8644-62bac78b48b1"/>
  </ds:schemaRefs>
</ds:datastoreItem>
</file>

<file path=customXml/itemProps2.xml><?xml version="1.0" encoding="utf-8"?>
<ds:datastoreItem xmlns:ds="http://schemas.openxmlformats.org/officeDocument/2006/customXml" ds:itemID="{71A0AECF-96F7-41E8-9399-4DA924771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c36dc2-b3d6-4975-85ff-cd8cf5e2163c"/>
    <ds:schemaRef ds:uri="793e4fd0-1785-4db8-b372-459536e7d1d2"/>
    <ds:schemaRef ds:uri="c8b2d8f8-ac6e-47dd-8644-62bac78b48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C12A0D-1AAD-40BB-BD40-DAF96130ED8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8DB7926-6B0C-4FB4-9636-4727E3D2ADE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61</TotalTime>
  <Words>476</Words>
  <Application>Microsoft Office PowerPoint</Application>
  <PresentationFormat>Personalizado</PresentationFormat>
  <Paragraphs>84</Paragraphs>
  <Slides>8</Slides>
  <Notes>5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23" baseType="lpstr">
      <vt:lpstr>Arial</vt:lpstr>
      <vt:lpstr>Arial Nova</vt:lpstr>
      <vt:lpstr>Avenir Book</vt:lpstr>
      <vt:lpstr>Calibri</vt:lpstr>
      <vt:lpstr>Georgia</vt:lpstr>
      <vt:lpstr>Lucida Sans Unicode</vt:lpstr>
      <vt:lpstr>Roobert ENEL</vt:lpstr>
      <vt:lpstr>Trebuchet MS</vt:lpstr>
      <vt:lpstr>Verdana</vt:lpstr>
      <vt:lpstr>Wingdings</vt:lpstr>
      <vt:lpstr>Office Theme</vt:lpstr>
      <vt:lpstr>2_Tema di Office</vt:lpstr>
      <vt:lpstr>Tema di Office</vt:lpstr>
      <vt:lpstr>1_Office Them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Electrificació Necessària i viable</vt:lpstr>
      <vt:lpstr>Electrificació Avantatges i barreres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desa X Descarbonización</dc:title>
  <dc:creator>Arribas Castro, Victor Jose</dc:creator>
  <cp:lastModifiedBy>Josep Casas Cristofol | Cecot</cp:lastModifiedBy>
  <cp:revision>274</cp:revision>
  <dcterms:created xsi:type="dcterms:W3CDTF">2022-01-13T08:34:00Z</dcterms:created>
  <dcterms:modified xsi:type="dcterms:W3CDTF">2023-06-16T17:4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stSaved">
    <vt:filetime>2022-01-13T00:00:00Z</vt:filetime>
  </property>
  <property fmtid="{D5CDD505-2E9C-101B-9397-08002B2CF9AE}" pid="3" name="MSIP_Label_b284f6bf-f638-41cc-935f-2157ddac8142_Enabled">
    <vt:lpwstr>true</vt:lpwstr>
  </property>
  <property fmtid="{D5CDD505-2E9C-101B-9397-08002B2CF9AE}" pid="4" name="MSIP_Label_b284f6bf-f638-41cc-935f-2157ddac8142_SetDate">
    <vt:lpwstr>2022-01-20T11:04:38Z</vt:lpwstr>
  </property>
  <property fmtid="{D5CDD505-2E9C-101B-9397-08002B2CF9AE}" pid="5" name="MSIP_Label_b284f6bf-f638-41cc-935f-2157ddac8142_Method">
    <vt:lpwstr>Privileged</vt:lpwstr>
  </property>
  <property fmtid="{D5CDD505-2E9C-101B-9397-08002B2CF9AE}" pid="6" name="MSIP_Label_b284f6bf-f638-41cc-935f-2157ddac8142_Name">
    <vt:lpwstr>b284f6bf-f638-41cc-935f-2157ddac8142</vt:lpwstr>
  </property>
  <property fmtid="{D5CDD505-2E9C-101B-9397-08002B2CF9AE}" pid="7" name="MSIP_Label_b284f6bf-f638-41cc-935f-2157ddac8142_SiteId">
    <vt:lpwstr>d539d4bf-5610-471a-afc2-1c76685cfefa</vt:lpwstr>
  </property>
  <property fmtid="{D5CDD505-2E9C-101B-9397-08002B2CF9AE}" pid="8" name="MSIP_Label_b284f6bf-f638-41cc-935f-2157ddac8142_ActionId">
    <vt:lpwstr>02daf3af-1cb4-4a21-8463-7df9ba71999f</vt:lpwstr>
  </property>
  <property fmtid="{D5CDD505-2E9C-101B-9397-08002B2CF9AE}" pid="9" name="MSIP_Label_b284f6bf-f638-41cc-935f-2157ddac8142_ContentBits">
    <vt:lpwstr>0</vt:lpwstr>
  </property>
  <property fmtid="{D5CDD505-2E9C-101B-9397-08002B2CF9AE}" pid="10" name="ContentTypeId">
    <vt:lpwstr>0x010100B05E643B92C7A54AAEF620C522A7B360</vt:lpwstr>
  </property>
  <property fmtid="{D5CDD505-2E9C-101B-9397-08002B2CF9AE}" pid="11" name="_dlc_DocIdItemGuid">
    <vt:lpwstr>4908cba1-de73-4e98-8927-178509c5e608</vt:lpwstr>
  </property>
  <property fmtid="{D5CDD505-2E9C-101B-9397-08002B2CF9AE}" pid="12" name="MediaServiceImageTags">
    <vt:lpwstr/>
  </property>
</Properties>
</file>